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mp4" ContentType="video/unknown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8" r:id="rId1"/>
    <p:sldMasterId id="2147483783" r:id="rId2"/>
    <p:sldMasterId id="2147483795" r:id="rId3"/>
  </p:sldMasterIdLst>
  <p:notesMasterIdLst>
    <p:notesMasterId r:id="rId49"/>
  </p:notesMasterIdLst>
  <p:handoutMasterIdLst>
    <p:handoutMasterId r:id="rId50"/>
  </p:handoutMasterIdLst>
  <p:sldIdLst>
    <p:sldId id="959" r:id="rId4"/>
    <p:sldId id="1063" r:id="rId5"/>
    <p:sldId id="1023" r:id="rId6"/>
    <p:sldId id="1065" r:id="rId7"/>
    <p:sldId id="1059" r:id="rId8"/>
    <p:sldId id="1062" r:id="rId9"/>
    <p:sldId id="1060" r:id="rId10"/>
    <p:sldId id="1017" r:id="rId11"/>
    <p:sldId id="1018" r:id="rId12"/>
    <p:sldId id="1092" r:id="rId13"/>
    <p:sldId id="1093" r:id="rId14"/>
    <p:sldId id="1094" r:id="rId15"/>
    <p:sldId id="1040" r:id="rId16"/>
    <p:sldId id="1069" r:id="rId17"/>
    <p:sldId id="1072" r:id="rId18"/>
    <p:sldId id="1073" r:id="rId19"/>
    <p:sldId id="1074" r:id="rId20"/>
    <p:sldId id="1096" r:id="rId21"/>
    <p:sldId id="1071" r:id="rId22"/>
    <p:sldId id="1091" r:id="rId23"/>
    <p:sldId id="1084" r:id="rId24"/>
    <p:sldId id="1020" r:id="rId25"/>
    <p:sldId id="1021" r:id="rId26"/>
    <p:sldId id="1075" r:id="rId27"/>
    <p:sldId id="1041" r:id="rId28"/>
    <p:sldId id="1027" r:id="rId29"/>
    <p:sldId id="1085" r:id="rId30"/>
    <p:sldId id="1076" r:id="rId31"/>
    <p:sldId id="1043" r:id="rId32"/>
    <p:sldId id="1077" r:id="rId33"/>
    <p:sldId id="977" r:id="rId34"/>
    <p:sldId id="1078" r:id="rId35"/>
    <p:sldId id="1028" r:id="rId36"/>
    <p:sldId id="1081" r:id="rId37"/>
    <p:sldId id="1082" r:id="rId38"/>
    <p:sldId id="1035" r:id="rId39"/>
    <p:sldId id="1079" r:id="rId40"/>
    <p:sldId id="1080" r:id="rId41"/>
    <p:sldId id="1090" r:id="rId42"/>
    <p:sldId id="1095" r:id="rId43"/>
    <p:sldId id="1029" r:id="rId44"/>
    <p:sldId id="1022" r:id="rId45"/>
    <p:sldId id="1088" r:id="rId46"/>
    <p:sldId id="1089" r:id="rId47"/>
    <p:sldId id="1083" r:id="rId48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5D"/>
    <a:srgbClr val="31B146"/>
    <a:srgbClr val="ACA800"/>
    <a:srgbClr val="E7E200"/>
    <a:srgbClr val="C2CEB3"/>
    <a:srgbClr val="01923E"/>
    <a:srgbClr val="FFFFFF"/>
    <a:srgbClr val="DFA889"/>
    <a:srgbClr val="33CC33"/>
    <a:srgbClr val="D4DB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1129" autoAdjust="0"/>
    <p:restoredTop sz="89049" autoAdjust="0"/>
  </p:normalViewPr>
  <p:slideViewPr>
    <p:cSldViewPr snapToGrid="0" showGuides="1">
      <p:cViewPr varScale="1">
        <p:scale>
          <a:sx n="108" d="100"/>
          <a:sy n="108" d="100"/>
        </p:scale>
        <p:origin x="852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95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8" Type="http://schemas.openxmlformats.org/officeDocument/2006/relationships/slide" Target="slides/slide5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J:\YandexDisk\&#1044;&#1086;&#1082;&#1091;&#1084;&#1077;&#1085;&#1090;&#1099;\&#1055;&#1088;&#1077;&#1079;&#1077;&#1085;&#1090;&#1072;&#1094;&#1080;&#1080;\&#1050;&#1086;&#1083;&#1083;&#1077;&#1075;&#1080;&#1103;%202018\&#1082;&#1086;&#1083;&#1083;&#1077;&#1075;&#1080;&#1103;%202018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аловой сбор в зерноединицах, млн. т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1B14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6CD-44CF-87DA-34B0EC32EDC8}"/>
              </c:ext>
            </c:extLst>
          </c:dPt>
          <c:dPt>
            <c:idx val="1"/>
            <c:invertIfNegative val="0"/>
            <c:bubble3D val="0"/>
            <c:spPr>
              <a:solidFill>
                <a:srgbClr val="31B14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6CD-44CF-87DA-34B0EC32EDC8}"/>
              </c:ext>
            </c:extLst>
          </c:dPt>
          <c:dPt>
            <c:idx val="2"/>
            <c:invertIfNegative val="0"/>
            <c:bubble3D val="0"/>
            <c:spPr>
              <a:solidFill>
                <a:srgbClr val="31B14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6CD-44CF-87DA-34B0EC32EDC8}"/>
              </c:ext>
            </c:extLst>
          </c:dPt>
          <c:dPt>
            <c:idx val="3"/>
            <c:invertIfNegative val="0"/>
            <c:bubble3D val="0"/>
            <c:spPr>
              <a:solidFill>
                <a:srgbClr val="31B14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6CD-44CF-87DA-34B0EC32EDC8}"/>
              </c:ext>
            </c:extLst>
          </c:dPt>
          <c:dPt>
            <c:idx val="4"/>
            <c:invertIfNegative val="0"/>
            <c:bubble3D val="0"/>
            <c:spPr>
              <a:solidFill>
                <a:srgbClr val="31B14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66CD-44CF-87DA-34B0EC32EDC8}"/>
              </c:ext>
            </c:extLst>
          </c:dPt>
          <c:dPt>
            <c:idx val="5"/>
            <c:invertIfNegative val="0"/>
            <c:bubble3D val="0"/>
            <c:spPr>
              <a:solidFill>
                <a:srgbClr val="31B14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9C4-41B5-9FA2-7A9A40D1BCF7}"/>
              </c:ext>
            </c:extLst>
          </c:dPt>
          <c:dPt>
            <c:idx val="6"/>
            <c:invertIfNegative val="0"/>
            <c:bubble3D val="0"/>
            <c:spPr>
              <a:pattFill prst="sphere">
                <a:fgClr>
                  <a:schemeClr val="accent6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1270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9C4-41B5-9FA2-7A9A40D1BC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.9</c:v>
                </c:pt>
                <c:pt idx="1">
                  <c:v>6.6</c:v>
                </c:pt>
                <c:pt idx="2">
                  <c:v>7.1</c:v>
                </c:pt>
                <c:pt idx="3">
                  <c:v>8.6</c:v>
                </c:pt>
                <c:pt idx="4">
                  <c:v>6.8</c:v>
                </c:pt>
                <c:pt idx="5">
                  <c:v>7.6</c:v>
                </c:pt>
                <c:pt idx="6" formatCode="0.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9C4-41B5-9FA2-7A9A40D1B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overlap val="-38"/>
        <c:axId val="51074944"/>
        <c:axId val="51079424"/>
      </c:barChart>
      <c:catAx>
        <c:axId val="51074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8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51079424"/>
        <c:crosses val="autoZero"/>
        <c:auto val="1"/>
        <c:lblAlgn val="ctr"/>
        <c:lblOffset val="100"/>
        <c:noMultiLvlLbl val="0"/>
      </c:catAx>
      <c:valAx>
        <c:axId val="51079424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074944"/>
        <c:crosses val="autoZero"/>
        <c:crossBetween val="between"/>
        <c:majorUnit val="5"/>
        <c:minorUnit val="1"/>
      </c:valAx>
    </c:plotArea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CC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CA05C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501-4F8D-AF54-731FCACE270C}"/>
              </c:ext>
            </c:extLst>
          </c:dPt>
          <c:dPt>
            <c:idx val="1"/>
            <c:invertIfNegative val="0"/>
            <c:bubble3D val="0"/>
            <c:spPr>
              <a:solidFill>
                <a:srgbClr val="01923E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9DB-468F-82CD-079641F72B93}"/>
              </c:ext>
            </c:extLst>
          </c:dPt>
          <c:cat>
            <c:numRef>
              <c:f>Лист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3.2</c:v>
                </c:pt>
                <c:pt idx="1">
                  <c:v>119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9DB-468F-82CD-079641F72B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"/>
        <c:overlap val="60"/>
        <c:axId val="54894976"/>
        <c:axId val="54896512"/>
      </c:barChart>
      <c:catAx>
        <c:axId val="54894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4896512"/>
        <c:crosses val="autoZero"/>
        <c:auto val="1"/>
        <c:lblAlgn val="ctr"/>
        <c:lblOffset val="100"/>
        <c:noMultiLvlLbl val="0"/>
      </c:catAx>
      <c:valAx>
        <c:axId val="548965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48949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057165340427977E-2"/>
          <c:y val="3.0237447292796107E-3"/>
          <c:w val="0.9638856693191441"/>
          <c:h val="0.808107207226511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тениеводство</c:v>
                </c:pt>
              </c:strCache>
            </c:strRef>
          </c:tx>
          <c:spPr>
            <a:solidFill>
              <a:srgbClr val="BCA05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1035780719056653E-4"/>
                  <c:y val="-5.415640716003451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EF4-429A-BECE-3EDA7F521CA0}"/>
                </c:ext>
              </c:extLst>
            </c:dLbl>
            <c:dLbl>
              <c:idx val="1"/>
              <c:layout>
                <c:manualLayout>
                  <c:x val="3.0094927908204666E-17"/>
                  <c:y val="3.02374472927961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F4-429A-BECE-3EDA7F521CA0}"/>
                </c:ext>
              </c:extLst>
            </c:dLbl>
            <c:dLbl>
              <c:idx val="3"/>
              <c:layout>
                <c:manualLayout>
                  <c:x val="0"/>
                  <c:y val="3.02374472927961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EF4-429A-BECE-3EDA7F521C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9.600000000000001</c:v>
                </c:pt>
                <c:pt idx="1">
                  <c:v>27.5</c:v>
                </c:pt>
                <c:pt idx="2" formatCode="0.0">
                  <c:v>32</c:v>
                </c:pt>
                <c:pt idx="3" formatCode="0.0">
                  <c:v>30.8</c:v>
                </c:pt>
                <c:pt idx="4">
                  <c:v>34.700000000000003</c:v>
                </c:pt>
                <c:pt idx="5">
                  <c:v>38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4B-4A0F-9582-9690D222C48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ивотноводство</c:v>
                </c:pt>
              </c:strCache>
            </c:strRef>
          </c:tx>
          <c:spPr>
            <a:solidFill>
              <a:srgbClr val="01923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51.2</c:v>
                </c:pt>
                <c:pt idx="1">
                  <c:v>58.4</c:v>
                </c:pt>
                <c:pt idx="2">
                  <c:v>62.7</c:v>
                </c:pt>
                <c:pt idx="3">
                  <c:v>64.400000000000006</c:v>
                </c:pt>
                <c:pt idx="4">
                  <c:v>64.2</c:v>
                </c:pt>
                <c:pt idx="5">
                  <c:v>74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4B-4A0F-9582-9690D222C4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52192768"/>
        <c:axId val="52194304"/>
      </c:barChart>
      <c:catAx>
        <c:axId val="52192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ru-RU"/>
          </a:p>
        </c:txPr>
        <c:crossAx val="52194304"/>
        <c:crosses val="autoZero"/>
        <c:auto val="1"/>
        <c:lblAlgn val="ctr"/>
        <c:lblOffset val="0"/>
        <c:noMultiLvlLbl val="0"/>
      </c:catAx>
      <c:valAx>
        <c:axId val="521943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19276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1.8602499489112769E-2"/>
          <c:y val="0.91020611698307885"/>
          <c:w val="0.39030068476338459"/>
          <c:h val="7.16513217573909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58538385826774E-2"/>
          <c:y val="0.17155609425927898"/>
          <c:w val="0.93635396161417328"/>
          <c:h val="0.69913769464087783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6</c:f>
              <c:numCache>
                <c:formatCode>General</c:formatCode>
                <c:ptCount val="5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8</c:v>
                </c:pt>
                <c:pt idx="1">
                  <c:v>73</c:v>
                </c:pt>
                <c:pt idx="2">
                  <c:v>78</c:v>
                </c:pt>
                <c:pt idx="3">
                  <c:v>83</c:v>
                </c:pt>
                <c:pt idx="4">
                  <c:v>9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38E-4949-9519-76D2699536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717312"/>
        <c:axId val="82735488"/>
      </c:lineChart>
      <c:catAx>
        <c:axId val="82717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2735488"/>
        <c:crosses val="autoZero"/>
        <c:auto val="1"/>
        <c:lblAlgn val="ctr"/>
        <c:lblOffset val="100"/>
        <c:noMultiLvlLbl val="0"/>
      </c:catAx>
      <c:valAx>
        <c:axId val="82735488"/>
        <c:scaling>
          <c:orientation val="minMax"/>
          <c:min val="60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2717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ц/га</c:v>
                </c:pt>
              </c:strCache>
            </c:strRef>
          </c:tx>
          <c:spPr>
            <a:solidFill>
              <a:srgbClr val="01923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Сид. пар</c:v>
                </c:pt>
                <c:pt idx="1">
                  <c:v>Горох</c:v>
                </c:pt>
                <c:pt idx="2">
                  <c:v>Одн.травы</c:v>
                </c:pt>
                <c:pt idx="3">
                  <c:v>Ячмень</c:v>
                </c:pt>
                <c:pt idx="4">
                  <c:v>Оз. Пшеница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 formatCode="0.0">
                  <c:v>4</c:v>
                </c:pt>
                <c:pt idx="1">
                  <c:v>3.9</c:v>
                </c:pt>
                <c:pt idx="2">
                  <c:v>3.8</c:v>
                </c:pt>
                <c:pt idx="3">
                  <c:v>2.5</c:v>
                </c:pt>
                <c:pt idx="4">
                  <c:v>2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1D7-40EB-8D53-B863551D05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98840960"/>
        <c:axId val="98842496"/>
      </c:barChart>
      <c:catAx>
        <c:axId val="988409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8842496"/>
        <c:crosses val="autoZero"/>
        <c:auto val="1"/>
        <c:lblAlgn val="ctr"/>
        <c:lblOffset val="100"/>
        <c:noMultiLvlLbl val="0"/>
      </c:catAx>
      <c:valAx>
        <c:axId val="9884249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988409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latin typeface="+mj-lt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ц/га</c:v>
                </c:pt>
              </c:strCache>
            </c:strRef>
          </c:tx>
          <c:spPr>
            <a:solidFill>
              <a:srgbClr val="BCA05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ru-RU" sz="2400" b="1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Горох</c:v>
                </c:pt>
                <c:pt idx="1">
                  <c:v>Люцерна</c:v>
                </c:pt>
                <c:pt idx="2">
                  <c:v>Злаковые травы</c:v>
                </c:pt>
                <c:pt idx="3">
                  <c:v>Ячмень</c:v>
                </c:pt>
                <c:pt idx="4">
                  <c:v>Яровая Пшеница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 formatCode="0.0">
                  <c:v>3</c:v>
                </c:pt>
                <c:pt idx="1">
                  <c:v>2.9</c:v>
                </c:pt>
                <c:pt idx="2">
                  <c:v>2.5</c:v>
                </c:pt>
                <c:pt idx="3">
                  <c:v>2.2000000000000002</c:v>
                </c:pt>
                <c:pt idx="4">
                  <c:v>2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6EE-435B-A169-452866E794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98875264"/>
        <c:axId val="98876800"/>
      </c:barChart>
      <c:catAx>
        <c:axId val="988752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98876800"/>
        <c:crosses val="autoZero"/>
        <c:auto val="1"/>
        <c:lblAlgn val="ctr"/>
        <c:lblOffset val="100"/>
        <c:noMultiLvlLbl val="0"/>
      </c:catAx>
      <c:valAx>
        <c:axId val="9887680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988752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558457332412419E-2"/>
          <c:y val="6.255332363719554E-2"/>
          <c:w val="0.26883125501533744"/>
          <c:h val="0.87315012769312439"/>
        </c:manualLayout>
      </c:layout>
      <c:pieChart>
        <c:varyColors val="1"/>
        <c:ser>
          <c:idx val="0"/>
          <c:order val="0"/>
          <c:explosion val="3"/>
          <c:dPt>
            <c:idx val="0"/>
            <c:bubble3D val="0"/>
            <c:explosion val="32"/>
            <c:spPr>
              <a:solidFill>
                <a:srgbClr val="FF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3FE-4FF3-BAB0-5AACC135B229}"/>
              </c:ext>
            </c:extLst>
          </c:dPt>
          <c:dPt>
            <c:idx val="1"/>
            <c:bubble3D val="0"/>
            <c:explosion val="25"/>
            <c:spPr>
              <a:solidFill>
                <a:srgbClr val="FFCC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3FE-4FF3-BAB0-5AACC135B229}"/>
              </c:ext>
            </c:extLst>
          </c:dPt>
          <c:dPt>
            <c:idx val="2"/>
            <c:bubble3D val="0"/>
            <c:explosion val="15"/>
            <c:extLst xmlns:c16r2="http://schemas.microsoft.com/office/drawing/2015/06/chart">
              <c:ext xmlns:c16="http://schemas.microsoft.com/office/drawing/2014/chart" uri="{C3380CC4-5D6E-409C-BE32-E72D297353CC}">
                <c16:uniqueId val="{00000004-A3FE-4FF3-BAB0-5AACC135B229}"/>
              </c:ext>
            </c:extLst>
          </c:dPt>
          <c:dPt>
            <c:idx val="3"/>
            <c:bubble3D val="0"/>
            <c:explosion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3FE-4FF3-BAB0-5AACC135B229}"/>
              </c:ext>
            </c:extLst>
          </c:dPt>
          <c:dPt>
            <c:idx val="4"/>
            <c:bubble3D val="0"/>
            <c:explosion val="0"/>
            <c:spPr>
              <a:solidFill>
                <a:schemeClr val="accent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3FE-4FF3-BAB0-5AACC135B229}"/>
              </c:ext>
            </c:extLst>
          </c:dPt>
          <c:cat>
            <c:strRef>
              <c:f>'баланс в динамике'!$L$147:$P$148</c:f>
              <c:strCache>
                <c:ptCount val="5"/>
                <c:pt idx="0">
                  <c:v>Сильнокислые</c:v>
                </c:pt>
                <c:pt idx="1">
                  <c:v>Среднекислые</c:v>
                </c:pt>
                <c:pt idx="2">
                  <c:v>Слабокислые</c:v>
                </c:pt>
                <c:pt idx="3">
                  <c:v>Близкие к нейтральной</c:v>
                </c:pt>
                <c:pt idx="4">
                  <c:v>Нейтральные</c:v>
                </c:pt>
              </c:strCache>
            </c:strRef>
          </c:cat>
          <c:val>
            <c:numRef>
              <c:f>'баланс в динамике'!$L$149:$P$149</c:f>
              <c:numCache>
                <c:formatCode>0.0</c:formatCode>
                <c:ptCount val="5"/>
                <c:pt idx="0">
                  <c:v>34.300000000000004</c:v>
                </c:pt>
                <c:pt idx="1">
                  <c:v>262.60000000000002</c:v>
                </c:pt>
                <c:pt idx="2">
                  <c:v>1101.1999999999998</c:v>
                </c:pt>
                <c:pt idx="3">
                  <c:v>769.8</c:v>
                </c:pt>
                <c:pt idx="4">
                  <c:v>993.9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3FE-4FF3-BAB0-5AACC135B2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0"/>
      </c:pieChart>
    </c:plotArea>
    <c:legend>
      <c:legendPos val="r"/>
      <c:layout>
        <c:manualLayout>
          <c:xMode val="edge"/>
          <c:yMode val="edge"/>
          <c:x val="0.59847816070676485"/>
          <c:y val="7.0306137352708589E-2"/>
          <c:w val="0.38572293287970905"/>
          <c:h val="0.89967900647517351"/>
        </c:manualLayout>
      </c:layout>
      <c:overlay val="0"/>
      <c:txPr>
        <a:bodyPr/>
        <a:lstStyle/>
        <a:p>
          <a:pPr rtl="0">
            <a:defRPr sz="1400" b="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200" b="1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356</cdr:x>
      <cdr:y>0.31751</cdr:y>
    </cdr:from>
    <cdr:to>
      <cdr:x>0.622</cdr:x>
      <cdr:y>0.6445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76435" y="671735"/>
          <a:ext cx="1576536" cy="6918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400" b="0" dirty="0" smtClean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44%</a:t>
          </a:r>
        </a:p>
        <a:p xmlns:a="http://schemas.openxmlformats.org/drawingml/2006/main">
          <a:pPr algn="ctr"/>
          <a:r>
            <a:rPr lang="ru-RU" sz="1400" b="0" dirty="0" smtClean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кислых почв</a:t>
          </a:r>
          <a:endParaRPr lang="ru-RU" sz="1400" b="0" dirty="0">
            <a:solidFill>
              <a:srgbClr val="FF0000"/>
            </a:solidFill>
            <a:effectLst/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12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78" y="12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21.07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6" y="9443976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78" y="9443976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12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078" y="12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21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5088" y="746125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7" rIns="91276" bIns="456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287" y="4721988"/>
            <a:ext cx="5408613" cy="4474292"/>
          </a:xfrm>
          <a:prstGeom prst="rect">
            <a:avLst/>
          </a:prstGeom>
        </p:spPr>
        <p:txBody>
          <a:bodyPr vert="horz" lIns="91276" tIns="45637" rIns="91276" bIns="4563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9443976"/>
            <a:ext cx="2930523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078" y="9443976"/>
            <a:ext cx="2930521" cy="49696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7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4468" y="2729269"/>
            <a:ext cx="6714779" cy="482440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226654" y="5223866"/>
            <a:ext cx="2384405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21471" y="379021"/>
            <a:ext cx="370357" cy="2858851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94" y="379021"/>
            <a:ext cx="6652145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0"/>
            <a:ext cx="8442609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0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48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1986" y="511725"/>
            <a:ext cx="9222292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434E1-A20E-4583-9BCA-FDA14FC72B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3339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3FEE9-C29E-400E-8A88-8FA62399D7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611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6331B4-8C76-4EDE-BA7F-05F5645E0B8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187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AD57F-CE9A-47A8-93C2-1D605E23844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1167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0913-B44F-47B2-AC37-644BC84B16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278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188EB-0EFC-4AC0-9438-B88C70797B2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163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BFFCAB-AB2C-4840-B0BE-2F6C3B6D71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C:\Users\user\Desktop\Презентация Э.А. Зарипова\Слайд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3957" y="0"/>
            <a:ext cx="499114" cy="685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437" y="28625"/>
            <a:ext cx="1170873" cy="87815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228" y="241805"/>
            <a:ext cx="1217520" cy="4346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603331" y="241805"/>
            <a:ext cx="4156010" cy="4925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dirty="0" smtClean="0">
                <a:solidFill>
                  <a:srgbClr val="AC9054"/>
                </a:solidFill>
              </a:rPr>
              <a:t>Министерство сельского хозяйства</a:t>
            </a:r>
          </a:p>
          <a:p>
            <a:pPr>
              <a:lnSpc>
                <a:spcPct val="70000"/>
              </a:lnSpc>
            </a:pPr>
            <a:r>
              <a:rPr lang="ru-RU" dirty="0" smtClean="0">
                <a:solidFill>
                  <a:srgbClr val="AC9054"/>
                </a:solidFill>
              </a:rPr>
              <a:t>и продовольствия Республики Татарстан</a:t>
            </a:r>
            <a:endParaRPr lang="ru-RU" dirty="0">
              <a:solidFill>
                <a:srgbClr val="AC90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35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A7E15-C528-4CC7-AE6D-9D26D4EC9F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816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4C7B4-D4D4-4D18-92CC-7941D940724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80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895E4D-C6B2-41C8-B298-35907A969F5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5102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9E45D5-1CE9-41E9-8573-26D0134A4E0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1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380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25D3D4DD-FD1D-45E8-B92D-EE6B97E0D2AD}" type="datetime1">
              <a:rPr lang="ru-RU" smtClean="0">
                <a:solidFill>
                  <a:srgbClr val="04617B">
                    <a:shade val="90000"/>
                  </a:srgbClr>
                </a:solidFill>
              </a:rPr>
              <a:t>21.07.2020</a:t>
            </a:fld>
            <a:endParaRPr lang="ru-RU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F4EE4866-38FB-46EB-BD6A-040DA04F87EE}" type="slidenum">
              <a:rPr lang="ru-RU">
                <a:solidFill>
                  <a:srgbClr val="04617B">
                    <a:shade val="90000"/>
                  </a:srgbClr>
                </a:solidFill>
              </a:rPr>
              <a:pPr/>
              <a:t>‹#›</a:t>
            </a:fld>
            <a:endParaRPr lang="ru-RU">
              <a:solidFill>
                <a:srgbClr val="04617B">
                  <a:shade val="9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4046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390182-0408-419B-830F-548BFEA6E2C0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42033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59EABE-A8E2-4EF0-BCB9-CFAFED58281B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07662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1858C-B6D2-4BED-A8DD-79D61CDE5543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03372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DCDDC7-8C76-4718-AADE-43E5C49117F2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4094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0988C-5434-4E5A-A13A-8E017A469DF0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186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97" y="4407514"/>
            <a:ext cx="10362660" cy="599395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97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225A25-A4B7-4117-8BB1-E42005237B16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53556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7329CD-F00A-422E-9D79-8E43DF6396F9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3872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2B4167-3196-4271-8253-48F5B06C1E5C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03006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2D90B4-851F-4B30-9304-BE35E5990F2A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415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E99CCF-A830-485C-BF3A-EBC74215640A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39345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3F4F-42A4-489B-A38B-1C10D0CEB808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3838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6262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407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3868"/>
            <a:ext cx="10973880" cy="283411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91" y="1535541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091" y="2175319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41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271" y="2175319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6799"/>
            <a:ext cx="4010725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673" y="273746"/>
            <a:ext cx="6816289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100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5" y="5069555"/>
            <a:ext cx="7315200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5" y="612265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5" y="5367836"/>
            <a:ext cx="73152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6.gi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2219" y="3240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792056"/>
            <a:ext cx="497398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61985" y="6265172"/>
            <a:ext cx="11630453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 fontAlgn="base">
                <a:spcBef>
                  <a:spcPct val="0"/>
                </a:spcBef>
                <a:spcAft>
                  <a:spcPct val="0"/>
                </a:spcAft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76220" y="1158139"/>
            <a:ext cx="5801189" cy="510218"/>
            <a:chOff x="915" y="715"/>
            <a:chExt cx="2686" cy="315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45147" y="6598841"/>
            <a:ext cx="265655" cy="1554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9954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9306545" y="93946"/>
            <a:ext cx="2760208" cy="51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61986" y="701388"/>
            <a:ext cx="11965221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61986" y="6731662"/>
            <a:ext cx="11965221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40C368-6053-4686-8F99-D9D871247085}" type="datetime1">
              <a:rPr lang="ru-RU" smtClean="0"/>
              <a:t>21.07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096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807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437" y="28625"/>
            <a:ext cx="1170873" cy="87815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228" y="241805"/>
            <a:ext cx="1217520" cy="4346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03331" y="241805"/>
            <a:ext cx="4156010" cy="4925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C905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истерство сельского хозяйства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C905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продовольствия Республики Татарстан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AC905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5101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1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9.xml"/><Relationship Id="rId6" Type="http://schemas.microsoft.com/office/2007/relationships/hdphoto" Target="../media/hdphoto2.wdp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2.jpeg"/><Relationship Id="rId7" Type="http://schemas.openxmlformats.org/officeDocument/2006/relationships/image" Target="../media/image45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4.jpeg"/><Relationship Id="rId5" Type="http://schemas.openxmlformats.org/officeDocument/2006/relationships/image" Target="http://www.syngenta.ru/images/cp/practicum/cereals/erysiphe.graminis.jpg" TargetMode="External"/><Relationship Id="rId4" Type="http://schemas.openxmlformats.org/officeDocument/2006/relationships/image" Target="../media/image4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2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0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2.jpeg"/><Relationship Id="rId7" Type="http://schemas.openxmlformats.org/officeDocument/2006/relationships/image" Target="../media/image66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microsoft.com/office/2007/relationships/hdphoto" Target="../media/hdphoto4.wdp"/><Relationship Id="rId7" Type="http://schemas.microsoft.com/office/2007/relationships/hdphoto" Target="../media/hdphoto5.wdp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2.png"/><Relationship Id="rId5" Type="http://schemas.openxmlformats.org/officeDocument/2006/relationships/image" Target="../media/image71.jpeg"/><Relationship Id="rId10" Type="http://schemas.openxmlformats.org/officeDocument/2006/relationships/image" Target="../media/image74.jpeg"/><Relationship Id="rId4" Type="http://schemas.openxmlformats.org/officeDocument/2006/relationships/image" Target="../media/image70.jpeg"/><Relationship Id="rId9" Type="http://schemas.microsoft.com/office/2007/relationships/hdphoto" Target="../media/hdphoto6.wdp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mailto:ksm_info@mail.ru" TargetMode="External"/><Relationship Id="rId2" Type="http://schemas.openxmlformats.org/officeDocument/2006/relationships/hyperlink" Target="mailto:secretar@tatagrohimservis.ru" TargetMode="External"/><Relationship Id="rId1" Type="http://schemas.openxmlformats.org/officeDocument/2006/relationships/slideLayout" Target="../slideLayouts/slideLayout31.xml"/><Relationship Id="rId4" Type="http://schemas.openxmlformats.org/officeDocument/2006/relationships/hyperlink" Target="mailto:tranzit-bp@mail.ru" TargetMode="External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6.xml"/><Relationship Id="rId5" Type="http://schemas.microsoft.com/office/2007/relationships/hdphoto" Target="../media/hdphoto9.wdp"/><Relationship Id="rId4" Type="http://schemas.openxmlformats.org/officeDocument/2006/relationships/image" Target="../media/image8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E:\1\D\Фото БАЗА\фотоподборка\яровой рапс.jpe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014759" y="3863152"/>
            <a:ext cx="3351301" cy="218094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6" descr="E:\1\D\Фото БАЗА\фотоподборка\оформление  коридора\3_08_2011_3_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00935" y="3863152"/>
            <a:ext cx="3269121" cy="2180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934718" y="1886987"/>
            <a:ext cx="10522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4800" b="1" spc="50">
                <a:ln w="11430"/>
                <a:solidFill>
                  <a:srgbClr val="008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3200" b="0" spc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</a:rPr>
              <a:t>ОСНОВНЫЕ МЕРОПРИЯТИЯ ПОВЫШЕНИЯ ОТДАЧИ ПАШНИ РЕСПУБЛИКИ ТАТАРСТАН</a:t>
            </a:r>
            <a:endParaRPr lang="ru-RU" sz="3200" b="0" spc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2200" y="3231471"/>
            <a:ext cx="2109466" cy="281262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18" y="3231472"/>
            <a:ext cx="2109466" cy="2812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92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628276" y="1149414"/>
            <a:ext cx="113224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ОРМУЛА УРОЖАЯ ТЕКУЩЕГО ГОДА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116098"/>
              </p:ext>
            </p:extLst>
          </p:nvPr>
        </p:nvGraphicFramePr>
        <p:xfrm>
          <a:off x="1854200" y="2086252"/>
          <a:ext cx="9704528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6132">
                  <a:extLst>
                    <a:ext uri="{9D8B030D-6E8A-4147-A177-3AD203B41FA5}">
                      <a16:colId xmlns:a16="http://schemas.microsoft.com/office/drawing/2014/main" xmlns="" val="265140035"/>
                    </a:ext>
                  </a:extLst>
                </a:gridCol>
                <a:gridCol w="2426132">
                  <a:extLst>
                    <a:ext uri="{9D8B030D-6E8A-4147-A177-3AD203B41FA5}">
                      <a16:colId xmlns:a16="http://schemas.microsoft.com/office/drawing/2014/main" xmlns="" val="1901053964"/>
                    </a:ext>
                  </a:extLst>
                </a:gridCol>
                <a:gridCol w="2426132">
                  <a:extLst>
                    <a:ext uri="{9D8B030D-6E8A-4147-A177-3AD203B41FA5}">
                      <a16:colId xmlns:a16="http://schemas.microsoft.com/office/drawing/2014/main" xmlns="" val="1219367040"/>
                    </a:ext>
                  </a:extLst>
                </a:gridCol>
                <a:gridCol w="2426132">
                  <a:extLst>
                    <a:ext uri="{9D8B030D-6E8A-4147-A177-3AD203B41FA5}">
                      <a16:colId xmlns:a16="http://schemas.microsoft.com/office/drawing/2014/main" xmlns="" val="3435208672"/>
                    </a:ext>
                  </a:extLst>
                </a:gridCol>
              </a:tblGrid>
              <a:tr h="701911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Количество</a:t>
                      </a:r>
                      <a:r>
                        <a:rPr lang="ru-RU" sz="2400" baseline="0" dirty="0" smtClean="0"/>
                        <a:t> продуктивных колосьев, </a:t>
                      </a:r>
                      <a:r>
                        <a:rPr lang="ru-RU" sz="2400" baseline="0" dirty="0" err="1" smtClean="0"/>
                        <a:t>шт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Количество</a:t>
                      </a:r>
                      <a:r>
                        <a:rPr lang="ru-RU" sz="2400" baseline="0" dirty="0" smtClean="0"/>
                        <a:t> зерен в колосе, </a:t>
                      </a:r>
                      <a:r>
                        <a:rPr lang="ru-RU" sz="2400" baseline="0" dirty="0" err="1" smtClean="0"/>
                        <a:t>шт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Масса</a:t>
                      </a:r>
                      <a:r>
                        <a:rPr lang="ru-RU" sz="2400" baseline="0" dirty="0" smtClean="0"/>
                        <a:t> 1000 семян, </a:t>
                      </a:r>
                      <a:r>
                        <a:rPr lang="ru-RU" sz="2400" baseline="0" dirty="0" err="1" smtClean="0"/>
                        <a:t>гр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Урожай,</a:t>
                      </a:r>
                      <a:r>
                        <a:rPr lang="ru-RU" sz="2400" baseline="0" dirty="0" smtClean="0"/>
                        <a:t> ц/га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750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50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2400" dirty="0" smtClean="0"/>
                        <a:t>Оптимальный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651757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52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8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7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17338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504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1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87465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8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52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1975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53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8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7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37028231"/>
                  </a:ext>
                </a:extLst>
              </a:tr>
            </a:tbl>
          </a:graphicData>
        </a:graphic>
      </p:graphicFrame>
      <p:sp>
        <p:nvSpPr>
          <p:cNvPr id="4" name="Стрелка вправо 3"/>
          <p:cNvSpPr/>
          <p:nvPr/>
        </p:nvSpPr>
        <p:spPr>
          <a:xfrm rot="10800000">
            <a:off x="9072239" y="3355757"/>
            <a:ext cx="541536" cy="310717"/>
          </a:xfrm>
          <a:prstGeom prst="rightArrow">
            <a:avLst>
              <a:gd name="adj1" fmla="val 50000"/>
              <a:gd name="adj2" fmla="val 850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9614518" y="3313180"/>
            <a:ext cx="1170513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endParaRPr lang="ru-RU" sz="16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9693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8276" y="1149414"/>
            <a:ext cx="113224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ОЯНИЕ ПОЛЕЙ РЕСПУБЛИКИ ТАТАРСТАН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2341" y="2768096"/>
            <a:ext cx="3067428" cy="408990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6986" y="1570368"/>
            <a:ext cx="3067428" cy="408990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1918" y="2734103"/>
            <a:ext cx="3092923" cy="412389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319" y="1570368"/>
            <a:ext cx="3092923" cy="412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48713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28276" y="1149414"/>
            <a:ext cx="113224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ОЯНИЕ ПОЛЕЙ РЕСПУБЛИКИ ТАТАРСТАН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8523" y="3065263"/>
            <a:ext cx="2844553" cy="379273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2117" y="2649643"/>
            <a:ext cx="3159883" cy="420835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8023" y="1870844"/>
            <a:ext cx="3106191" cy="414158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300" y="1870844"/>
            <a:ext cx="2938048" cy="391739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43405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893005" y="2977134"/>
            <a:ext cx="1908000" cy="720080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шественник</a:t>
            </a:r>
            <a:endParaRPr lang="ru-RU" sz="17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24640" y="2968021"/>
            <a:ext cx="1800000" cy="729193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роки сев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248275" y="2968021"/>
            <a:ext cx="2394857" cy="729193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балансированное питание</a:t>
            </a:r>
            <a:endParaRPr lang="ru-RU" sz="17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919820" y="2968022"/>
            <a:ext cx="1800000" cy="720080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дбор сорта</a:t>
            </a:r>
            <a:endParaRPr lang="ru-RU" sz="17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996508" y="2968021"/>
            <a:ext cx="1908000" cy="718154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сенняя защита</a:t>
            </a:r>
          </a:p>
        </p:txBody>
      </p:sp>
      <p:pic>
        <p:nvPicPr>
          <p:cNvPr id="20" name="Picture 4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96271" y="4074020"/>
            <a:ext cx="1929029" cy="1774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://irbeika.ru/media/cache/8d/da/4f/78/dc/b5/8dda4f78dcb5ab7d400a542b4d39a20e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40"/>
          <a:stretch/>
        </p:blipFill>
        <p:spPr bwMode="auto">
          <a:xfrm>
            <a:off x="7919821" y="4074020"/>
            <a:ext cx="1795680" cy="1774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E:\1\D\Фото БАЗА\фотоподборка\яровой рапс.jpe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3005" y="4074020"/>
            <a:ext cx="1908000" cy="1774098"/>
          </a:xfrm>
          <a:prstGeom prst="rect">
            <a:avLst/>
          </a:prstGeom>
          <a:noFill/>
        </p:spPr>
      </p:pic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8" name="Picture 5" descr="C:\Users\user\Desktop\medium_1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056" t="13646" r="25467" b="5221"/>
          <a:stretch/>
        </p:blipFill>
        <p:spPr bwMode="auto">
          <a:xfrm>
            <a:off x="5258004" y="4074020"/>
            <a:ext cx="2381046" cy="1774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685438" y="1474079"/>
            <a:ext cx="3485142" cy="646331"/>
          </a:xfrm>
          <a:prstGeom prst="rect">
            <a:avLst/>
          </a:prstGeom>
          <a:solidFill>
            <a:srgbClr val="366000"/>
          </a:solidFill>
          <a:ln>
            <a:solidFill>
              <a:srgbClr val="366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ЛЯЮЩИЕ УСПЕХА (НЕУДАЧИ) ОЗИМЫХ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057275" y="2790825"/>
            <a:ext cx="10696575" cy="0"/>
          </a:xfrm>
          <a:prstGeom prst="line">
            <a:avLst/>
          </a:prstGeom>
          <a:ln>
            <a:solidFill>
              <a:srgbClr val="366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трелка вниз 24"/>
          <p:cNvSpPr/>
          <p:nvPr/>
        </p:nvSpPr>
        <p:spPr>
          <a:xfrm>
            <a:off x="6067425" y="2222255"/>
            <a:ext cx="752475" cy="466725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1776" y="4074021"/>
            <a:ext cx="1861700" cy="175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0418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2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12630"/>
              </p:ext>
            </p:extLst>
          </p:nvPr>
        </p:nvGraphicFramePr>
        <p:xfrm>
          <a:off x="914627" y="2896941"/>
          <a:ext cx="5384799" cy="3208583"/>
        </p:xfrm>
        <a:graphic>
          <a:graphicData uri="http://schemas.openxmlformats.org/drawingml/2006/table">
            <a:tbl>
              <a:tblPr/>
              <a:tblGrid>
                <a:gridCol w="19809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088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949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441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едшественник</a:t>
                      </a:r>
                    </a:p>
                  </a:txBody>
                  <a:tcPr marL="121920" marR="121920" marT="45724" marB="45724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% от максимума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рожайность, т/га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59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Чистый пар</a:t>
                      </a:r>
                    </a:p>
                  </a:txBody>
                  <a:tcPr marL="121920" marR="121920" marT="45724" marB="45724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,0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06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орох</a:t>
                      </a:r>
                    </a:p>
                  </a:txBody>
                  <a:tcPr marL="121920" marR="121920" marT="45724" marB="45724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8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9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58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д. травы</a:t>
                      </a:r>
                    </a:p>
                  </a:txBody>
                  <a:tcPr marL="121920" marR="121920" marT="45724" marB="45724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6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8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82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з. рожь</a:t>
                      </a:r>
                    </a:p>
                  </a:txBody>
                  <a:tcPr marL="121920" marR="121920" marT="45724" marB="45724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4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5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59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Ячмень</a:t>
                      </a:r>
                    </a:p>
                  </a:txBody>
                  <a:tcPr marL="121920" marR="121920" marT="45724" marB="45724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2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4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177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зимая пшеница</a:t>
                      </a:r>
                    </a:p>
                  </a:txBody>
                  <a:tcPr marL="121920" marR="121920" marT="45724" marB="45724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1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4</a:t>
                      </a:r>
                    </a:p>
                  </a:txBody>
                  <a:tcPr marL="121920" marR="121920" marT="45724" marB="45724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50287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387111"/>
              </p:ext>
            </p:extLst>
          </p:nvPr>
        </p:nvGraphicFramePr>
        <p:xfrm>
          <a:off x="6501342" y="2896227"/>
          <a:ext cx="5384800" cy="3209298"/>
        </p:xfrm>
        <a:graphic>
          <a:graphicData uri="http://schemas.openxmlformats.org/drawingml/2006/table">
            <a:tbl>
              <a:tblPr/>
              <a:tblGrid>
                <a:gridCol w="19568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478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8011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422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едшественник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% от максимума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рожайность, т/га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13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орох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0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3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векла сахарная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8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Cyr" pitchFamily="34" charset="0"/>
                          <a:cs typeface="Times New Roman" pitchFamily="18" charset="0"/>
                        </a:rPr>
                        <a:t>2,9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13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Люцерна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8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Cyr" pitchFamily="34" charset="0"/>
                          <a:cs typeface="Times New Roman" pitchFamily="18" charset="0"/>
                        </a:rPr>
                        <a:t>2,9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13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речиха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4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Cyr" pitchFamily="34" charset="0"/>
                          <a:cs typeface="Times New Roman" pitchFamily="18" charset="0"/>
                        </a:rPr>
                        <a:t>2,8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60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лаковые травы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5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Cyr" pitchFamily="34" charset="0"/>
                          <a:cs typeface="Times New Roman" pitchFamily="18" charset="0"/>
                        </a:rPr>
                        <a:t>2,5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62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зимая рожь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8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Cyr" pitchFamily="34" charset="0"/>
                          <a:cs typeface="Times New Roman" pitchFamily="18" charset="0"/>
                        </a:rPr>
                        <a:t>2,3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62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Яровой ячмень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4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Cyr" pitchFamily="34" charset="0"/>
                          <a:cs typeface="Times New Roman" pitchFamily="18" charset="0"/>
                        </a:rPr>
                        <a:t>2,2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Яровая пшеница</a:t>
                      </a:r>
                    </a:p>
                  </a:txBody>
                  <a:tcPr marL="121920" marR="121920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1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Cyr" pitchFamily="34" charset="0"/>
                          <a:cs typeface="Times New Roman" pitchFamily="18" charset="0"/>
                        </a:rPr>
                        <a:t>2,1</a:t>
                      </a:r>
                    </a:p>
                  </a:txBody>
                  <a:tcPr marL="121920" marR="12192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28767" name="Text Box 79"/>
          <p:cNvSpPr txBox="1">
            <a:spLocks noChangeArrowheads="1"/>
          </p:cNvSpPr>
          <p:nvPr/>
        </p:nvSpPr>
        <p:spPr bwMode="auto">
          <a:xfrm>
            <a:off x="1124939" y="2423362"/>
            <a:ext cx="4510616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dirty="0">
                <a:latin typeface="Arial" charset="0"/>
              </a:rPr>
              <a:t>Озимая пшеница</a:t>
            </a:r>
          </a:p>
        </p:txBody>
      </p:sp>
      <p:sp>
        <p:nvSpPr>
          <p:cNvPr id="28768" name="Text Box 80"/>
          <p:cNvSpPr txBox="1">
            <a:spLocks noChangeArrowheads="1"/>
          </p:cNvSpPr>
          <p:nvPr/>
        </p:nvSpPr>
        <p:spPr bwMode="auto">
          <a:xfrm>
            <a:off x="6826378" y="2423362"/>
            <a:ext cx="470323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dirty="0">
                <a:latin typeface="Arial" charset="0"/>
              </a:rPr>
              <a:t>Яровая пшеница</a:t>
            </a:r>
          </a:p>
        </p:txBody>
      </p:sp>
      <p:sp>
        <p:nvSpPr>
          <p:cNvPr id="28769" name="Rectangle 2"/>
          <p:cNvSpPr>
            <a:spLocks noChangeArrowheads="1"/>
          </p:cNvSpPr>
          <p:nvPr/>
        </p:nvSpPr>
        <p:spPr bwMode="auto">
          <a:xfrm>
            <a:off x="1781916" y="1240885"/>
            <a:ext cx="89408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ЗЫВЧИВОСТЬ КУЛЬТУРЫ НА ПРЕДШЕСТВЕННИКИ </a:t>
            </a:r>
          </a:p>
          <a:p>
            <a:pPr marL="342900" indent="-342900" algn="ctr">
              <a:lnSpc>
                <a:spcPct val="90000"/>
              </a:lnSpc>
              <a:spcBef>
                <a:spcPct val="20000"/>
              </a:spcBef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ПО ДАННЫМ КАЗАНСКОГО ГАУ)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16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06824" y="1044861"/>
            <a:ext cx="11385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ЕВ СИДЕРАЛЬНЫХ КУЛЬТУР – </a:t>
            </a:r>
          </a:p>
          <a:p>
            <a:pPr algn="ctr"/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ОССТАНОВЛЕНИЕ ПЛОДОРОДИЯ ПОЧВЫ</a:t>
            </a:r>
          </a:p>
        </p:txBody>
      </p:sp>
      <p:pic>
        <p:nvPicPr>
          <p:cNvPr id="9" name="Picture 2" descr="C:\Users\Sultanova\Desktop\e1317252-754f-43fc-b763-fb627b20367f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5053" b="3273"/>
          <a:stretch/>
        </p:blipFill>
        <p:spPr bwMode="auto">
          <a:xfrm flipH="1">
            <a:off x="1308411" y="2391391"/>
            <a:ext cx="2113612" cy="20198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E:\1\D\Фото БАЗА\фотоподборка\яровой рапс.jpe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08411" y="4472437"/>
            <a:ext cx="2113612" cy="1965280"/>
          </a:xfrm>
          <a:prstGeom prst="rect">
            <a:avLst/>
          </a:prstGeom>
          <a:noFill/>
        </p:spPr>
      </p:pic>
      <p:pic>
        <p:nvPicPr>
          <p:cNvPr id="20" name="Picture 3" descr="E:\Видеоконференции\Фотоматериалы\горчица Зай\P1040255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07475" y="2391391"/>
            <a:ext cx="3794715" cy="20198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7475" y="4469778"/>
            <a:ext cx="3794715" cy="1965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43986" y="3048278"/>
            <a:ext cx="353481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ставляет органику до 30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н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епятствует распространению корневых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нилей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ает пораженность ячменя, пшеницы септориозом, фузариозом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ает урожайность зерновых на 10 ц/г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999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6761861"/>
              </p:ext>
            </p:extLst>
          </p:nvPr>
        </p:nvGraphicFramePr>
        <p:xfrm>
          <a:off x="827088" y="2366922"/>
          <a:ext cx="11108534" cy="34973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381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2325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0654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87362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63619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тура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 на 1 га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-, к зерновым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377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baseline="-250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kern="1200" baseline="-250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600" b="1" kern="1200" baseline="-250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kern="1200" baseline="-250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кг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300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вые колосовые </a:t>
                      </a:r>
                      <a:b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урожайность зерна – 30 ц/га)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8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,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6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69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бобовые (горох</a:t>
                      </a:r>
                      <a:r>
                        <a:rPr lang="ru-RU" sz="16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25 ц/га</a:t>
                      </a: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3,4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521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евер двухгодичного пользования (150 ц/га, з/м), после 1</a:t>
                      </a:r>
                      <a:r>
                        <a:rPr lang="ru-RU" sz="16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коса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5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9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,1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7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5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20,4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42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дька</a:t>
                      </a:r>
                      <a:r>
                        <a:rPr lang="ru-RU" sz="1600" u="none" strike="noStrike" kern="12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сличная</a:t>
                      </a: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80 ц</a:t>
                      </a:r>
                      <a:r>
                        <a:rPr lang="ru-RU" sz="1600" u="none" strike="noStrike" kern="12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ки/га</a:t>
                      </a:r>
                      <a:r>
                        <a:rPr lang="ru-RU" sz="16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8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41,4</a:t>
                      </a:r>
                      <a:endParaRPr lang="ru-RU" sz="1800" b="1" i="0" u="none" strike="noStrike" kern="1200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9055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нник на </a:t>
                      </a:r>
                      <a:r>
                        <a:rPr lang="ru-RU" sz="16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дерат</a:t>
                      </a: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заделка 200 ц з/м)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8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57,4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46163" y="1196975"/>
            <a:ext cx="10688637" cy="868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ЛИЧЕСТВО ОСНОВНЫХ ЭЛЕМЕНТОВ ПИТАНИЯ </a:t>
            </a:r>
            <a:b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СТАВЛЯЕМЫХ В КОРНЕВЫХ И ПОЖНИВНЫХ ОСТАТКАХ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17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327344" y="572145"/>
            <a:ext cx="10340781" cy="1092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400"/>
              </a:lnSpc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ЛИЧИЕ СИДЕРАЛЬНЫХ ПАРОВ У УЧАСТНИКОВ СОВЕЩАНИЯ, ГА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2818" y="6176167"/>
            <a:ext cx="10163402" cy="65030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400"/>
              </a:lnSpc>
            </a:pP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ложение участникам – в 2021 году иметь 100% </a:t>
            </a:r>
            <a:r>
              <a:rPr lang="ru-RU" sz="20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идеральных</a:t>
            </a: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паров (донник, горчица белая, редька масличная, фацелия и т</a:t>
            </a:r>
            <a:r>
              <a:rPr lang="ru-RU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.)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604300"/>
              </p:ext>
            </p:extLst>
          </p:nvPr>
        </p:nvGraphicFramePr>
        <p:xfrm>
          <a:off x="1879137" y="1346801"/>
          <a:ext cx="4974733" cy="47131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90240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929998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1054495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</a:tblGrid>
              <a:tr h="2635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оры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от паров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ООО </a:t>
                      </a:r>
                      <a:r>
                        <a:rPr lang="ru-RU" sz="1600" u="none" strike="noStrike" dirty="0" smtClean="0">
                          <a:effectLst/>
                        </a:rPr>
                        <a:t>УК «</a:t>
                      </a:r>
                      <a:r>
                        <a:rPr lang="ru-RU" sz="1600" u="none" strike="noStrike" dirty="0" err="1">
                          <a:effectLst/>
                        </a:rPr>
                        <a:t>АгроИнвест</a:t>
                      </a:r>
                      <a:r>
                        <a:rPr lang="ru-RU" sz="1600" u="none" strike="noStrike" dirty="0">
                          <a:effectLst/>
                        </a:rPr>
                        <a:t>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6 40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88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9569289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АО "</a:t>
                      </a:r>
                      <a:r>
                        <a:rPr lang="ru-RU" sz="1600" u="none" strike="noStrike" dirty="0" err="1">
                          <a:effectLst/>
                        </a:rPr>
                        <a:t>Агросила</a:t>
                      </a:r>
                      <a:r>
                        <a:rPr lang="ru-RU" sz="1600" u="none" strike="noStrike" dirty="0">
                          <a:effectLst/>
                        </a:rPr>
                        <a:t>"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34 90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70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8961918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effectLst/>
                        </a:rPr>
                        <a:t>ООО"Союз</a:t>
                      </a:r>
                      <a:r>
                        <a:rPr lang="ru-RU" sz="1600" u="none" strike="noStrike" dirty="0">
                          <a:effectLst/>
                        </a:rPr>
                        <a:t>-Агро"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3 26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67,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1623260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ООО «Сервис-Агро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78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66,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139142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ООО АФ «Чистопольская»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1 19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42,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АО "ХК "Ак Барс"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5 94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27,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АПК Прод.программа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2 02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27,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ООО "АФ "Родные края-Туган Як"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53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22,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АО "Рацин"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30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6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ООО "Август-Муслюм"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30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3,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ООО "Хузангаевское"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10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3,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</a:rPr>
                        <a:t>ООО «Красный Восток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989146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ООО "Волга-Селект"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0919942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ООО «Агро-Основа»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569922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ООО "Чистай-Агро"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9486990"/>
                  </a:ext>
                </a:extLst>
              </a:tr>
              <a:tr h="263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АО "</a:t>
                      </a:r>
                      <a:r>
                        <a:rPr lang="ru-RU" sz="1600" u="none" strike="noStrike" dirty="0" err="1">
                          <a:effectLst/>
                        </a:rPr>
                        <a:t>Татагролизинг</a:t>
                      </a:r>
                      <a:r>
                        <a:rPr lang="ru-RU" sz="1600" u="none" strike="noStrike" dirty="0">
                          <a:effectLst/>
                        </a:rPr>
                        <a:t>"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2134511"/>
                  </a:ext>
                </a:extLst>
              </a:tr>
            </a:tbl>
          </a:graphicData>
        </a:graphic>
      </p:graphicFrame>
      <p:pic>
        <p:nvPicPr>
          <p:cNvPr id="6146" name="Picture 2" descr="Горчица цветок поле - обои на телефон бесплатно.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50928" y="1336509"/>
            <a:ext cx="3311941" cy="4723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6989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0282" y="810225"/>
            <a:ext cx="4535832" cy="604777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803159" y="2337377"/>
            <a:ext cx="468568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 smtClean="0">
                <a:solidFill>
                  <a:schemeClr val="accent2">
                    <a:lumMod val="75000"/>
                  </a:schemeClr>
                </a:solidFill>
              </a:rPr>
              <a:t>А такой чистый пар эффективен?</a:t>
            </a:r>
            <a:endParaRPr lang="ru-RU" sz="60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03631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09726"/>
              </p:ext>
            </p:extLst>
          </p:nvPr>
        </p:nvGraphicFramePr>
        <p:xfrm>
          <a:off x="1186178" y="1678975"/>
          <a:ext cx="407162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5811">
                  <a:extLst>
                    <a:ext uri="{9D8B030D-6E8A-4147-A177-3AD203B41FA5}">
                      <a16:colId xmlns:a16="http://schemas.microsoft.com/office/drawing/2014/main" xmlns="" val="320862316"/>
                    </a:ext>
                  </a:extLst>
                </a:gridCol>
                <a:gridCol w="2035811">
                  <a:extLst>
                    <a:ext uri="{9D8B030D-6E8A-4147-A177-3AD203B41FA5}">
                      <a16:colId xmlns:a16="http://schemas.microsoft.com/office/drawing/2014/main" xmlns="" val="6114988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/>
                        <a:t>Культура</a:t>
                      </a:r>
                      <a:r>
                        <a:rPr lang="ru-RU" b="0" baseline="0" dirty="0" smtClean="0"/>
                        <a:t> </a:t>
                      </a:r>
                      <a:endParaRPr lang="ru-RU" b="0" dirty="0"/>
                    </a:p>
                  </a:txBody>
                  <a:tcP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/>
                        <a:t>Сроки сева</a:t>
                      </a:r>
                      <a:endParaRPr lang="ru-RU" b="0" dirty="0"/>
                    </a:p>
                  </a:txBody>
                  <a:tcPr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258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0" dirty="0" smtClean="0"/>
                        <a:t>Озимая рожь</a:t>
                      </a:r>
                      <a:endParaRPr lang="ru-RU" b="0" dirty="0"/>
                    </a:p>
                  </a:txBody>
                  <a:tcP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/>
                        <a:t>10.08-01.09</a:t>
                      </a:r>
                      <a:endParaRPr lang="ru-RU" b="0" dirty="0"/>
                    </a:p>
                  </a:txBody>
                  <a:tcP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581890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0" dirty="0" smtClean="0"/>
                        <a:t>Озимая пшеница</a:t>
                      </a:r>
                      <a:endParaRPr lang="ru-RU" b="0" dirty="0"/>
                    </a:p>
                  </a:txBody>
                  <a:tcP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/>
                        <a:t>20.08-05.09</a:t>
                      </a:r>
                      <a:endParaRPr lang="ru-RU" b="0" dirty="0"/>
                    </a:p>
                  </a:txBody>
                  <a:tcP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7033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0" dirty="0" smtClean="0"/>
                        <a:t>Озимая тритикале</a:t>
                      </a:r>
                      <a:endParaRPr lang="ru-RU" b="0" dirty="0"/>
                    </a:p>
                  </a:txBody>
                  <a:tcP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/>
                        <a:t>25.08-05.09</a:t>
                      </a:r>
                      <a:endParaRPr lang="ru-RU" b="0" dirty="0"/>
                    </a:p>
                  </a:txBody>
                  <a:tcP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9949476"/>
                  </a:ext>
                </a:extLst>
              </a:tr>
            </a:tbl>
          </a:graphicData>
        </a:graphic>
      </p:graphicFrame>
      <p:pic>
        <p:nvPicPr>
          <p:cNvPr id="6146" name="Picture 2" descr="В Рязанской области начался сев озимых зерновых культур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8"/>
          <a:stretch/>
        </p:blipFill>
        <p:spPr bwMode="auto">
          <a:xfrm>
            <a:off x="1176618" y="3194556"/>
            <a:ext cx="4070304" cy="2628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791327" y="5004306"/>
            <a:ext cx="4071655" cy="58477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птимальные сроки для сева озимых – 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 5 сентября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710645" y="1671062"/>
            <a:ext cx="4071655" cy="304698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      </a:t>
            </a:r>
            <a:r>
              <a:rPr lang="ru-RU" sz="1600" b="1" dirty="0" smtClean="0"/>
              <a:t>Почва и снежный покров</a:t>
            </a:r>
          </a:p>
          <a:p>
            <a:pPr marL="285750" indent="-285750">
              <a:buFontTx/>
              <a:buChar char="-"/>
            </a:pPr>
            <a:r>
              <a:rPr lang="ru-RU" sz="1600" dirty="0" smtClean="0"/>
              <a:t>1 см снега повышает </a:t>
            </a:r>
            <a:r>
              <a:rPr lang="en-US" sz="1600" dirty="0" smtClean="0"/>
              <a:t>t</a:t>
            </a:r>
            <a:r>
              <a:rPr lang="ru-RU" sz="1600" dirty="0" smtClean="0"/>
              <a:t>° на 2°С</a:t>
            </a:r>
          </a:p>
          <a:p>
            <a:pPr marL="285750" indent="-285750">
              <a:buFontTx/>
              <a:buChar char="-"/>
            </a:pPr>
            <a:r>
              <a:rPr lang="ru-RU" sz="1600" dirty="0" smtClean="0"/>
              <a:t>1 см почвы повышает </a:t>
            </a:r>
            <a:r>
              <a:rPr lang="en-US" sz="1600" dirty="0"/>
              <a:t>t</a:t>
            </a:r>
            <a:r>
              <a:rPr lang="ru-RU" sz="1600" dirty="0"/>
              <a:t>° на </a:t>
            </a:r>
            <a:r>
              <a:rPr lang="ru-RU" sz="1600" dirty="0" smtClean="0"/>
              <a:t>3°С</a:t>
            </a:r>
          </a:p>
          <a:p>
            <a:endParaRPr lang="ru-RU" sz="1600" dirty="0" smtClean="0"/>
          </a:p>
          <a:p>
            <a:r>
              <a:rPr lang="ru-RU" sz="1600" dirty="0" smtClean="0"/>
              <a:t>      </a:t>
            </a:r>
            <a:r>
              <a:rPr lang="en-US" sz="1600" b="1" dirty="0" smtClean="0"/>
              <a:t>t</a:t>
            </a:r>
            <a:r>
              <a:rPr lang="ru-RU" sz="1600" b="1" dirty="0" smtClean="0"/>
              <a:t>° на узле кущения, вызывающая гибель</a:t>
            </a:r>
          </a:p>
          <a:p>
            <a:pPr marL="285750" indent="-285750">
              <a:buFontTx/>
              <a:buChar char="-"/>
            </a:pPr>
            <a:r>
              <a:rPr lang="ru-RU" sz="1600" dirty="0" smtClean="0"/>
              <a:t>рожь  19…21°С</a:t>
            </a:r>
            <a:endParaRPr lang="ru-RU" sz="1600" dirty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пшеница 15…17°С</a:t>
            </a:r>
            <a:endParaRPr lang="ru-RU" sz="1600" dirty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тритикале  </a:t>
            </a:r>
            <a:r>
              <a:rPr lang="ru-RU" sz="1600" dirty="0"/>
              <a:t>17…19°С  </a:t>
            </a:r>
            <a:endParaRPr lang="ru-RU" sz="1600" dirty="0" smtClean="0"/>
          </a:p>
          <a:p>
            <a:endParaRPr lang="ru-RU" sz="1600" dirty="0" smtClean="0"/>
          </a:p>
          <a:p>
            <a:r>
              <a:rPr lang="ru-RU" sz="1600" dirty="0" smtClean="0"/>
              <a:t>      </a:t>
            </a:r>
            <a:r>
              <a:rPr lang="ru-RU" sz="1600" b="1" dirty="0" smtClean="0"/>
              <a:t>Необходимая сумма эффективных </a:t>
            </a:r>
            <a:r>
              <a:rPr lang="en-US" sz="1600" b="1" dirty="0"/>
              <a:t>t</a:t>
            </a:r>
            <a:r>
              <a:rPr lang="ru-RU" sz="1600" b="1" dirty="0" smtClean="0"/>
              <a:t>° в год посева</a:t>
            </a:r>
          </a:p>
          <a:p>
            <a:r>
              <a:rPr lang="ru-RU" sz="1600" dirty="0" smtClean="0"/>
              <a:t>- 300…340°С  </a:t>
            </a:r>
            <a:endParaRPr lang="ru-RU" sz="1600" dirty="0"/>
          </a:p>
        </p:txBody>
      </p:sp>
      <p:sp>
        <p:nvSpPr>
          <p:cNvPr id="6" name="Равнобедренный треугольник 5"/>
          <p:cNvSpPr/>
          <p:nvPr/>
        </p:nvSpPr>
        <p:spPr>
          <a:xfrm rot="5400000">
            <a:off x="6734177" y="1728212"/>
            <a:ext cx="304800" cy="190500"/>
          </a:xfrm>
          <a:prstGeom prst="triangle">
            <a:avLst/>
          </a:prstGeom>
          <a:solidFill>
            <a:srgbClr val="C2C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Равнобедренный треугольник 16"/>
          <p:cNvSpPr/>
          <p:nvPr/>
        </p:nvSpPr>
        <p:spPr>
          <a:xfrm rot="5400000">
            <a:off x="6734177" y="2728337"/>
            <a:ext cx="304800" cy="190500"/>
          </a:xfrm>
          <a:prstGeom prst="triangle">
            <a:avLst/>
          </a:prstGeom>
          <a:solidFill>
            <a:srgbClr val="C2C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Равнобедренный треугольник 17"/>
          <p:cNvSpPr/>
          <p:nvPr/>
        </p:nvSpPr>
        <p:spPr>
          <a:xfrm rot="5400000">
            <a:off x="6724652" y="3918962"/>
            <a:ext cx="304800" cy="190500"/>
          </a:xfrm>
          <a:prstGeom prst="triangle">
            <a:avLst/>
          </a:prstGeom>
          <a:solidFill>
            <a:srgbClr val="C2C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48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077126" y="989357"/>
            <a:ext cx="10686249" cy="1092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2400"/>
              </a:lnSpc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ИЗВОДСТВО ПРОДУКЦИИ РАСТЕНИЕВОДСТВА В РТ </a:t>
            </a:r>
          </a:p>
          <a:p>
            <a:pPr algn="ctr">
              <a:lnSpc>
                <a:spcPts val="2400"/>
              </a:lnSpc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 2014-2019 ГОДЫ (В ПЕРЕВОДЕ НА ЗЕРНОЕДИНИЦЫ), МЛН.ТН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243513040"/>
              </p:ext>
            </p:extLst>
          </p:nvPr>
        </p:nvGraphicFramePr>
        <p:xfrm>
          <a:off x="1086651" y="2222001"/>
          <a:ext cx="7864895" cy="3530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310490" y="6251480"/>
            <a:ext cx="364369" cy="25794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1774257" y="6202461"/>
            <a:ext cx="2179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- валовой сбор,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млн.тн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04291" y="6213771"/>
            <a:ext cx="22807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- урожайность, ц/га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662293" y="5355955"/>
            <a:ext cx="12570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latin typeface="Arial Narrow" pitchFamily="34" charset="0"/>
                <a:cs typeface="Arial" pitchFamily="34" charset="0"/>
              </a:rPr>
              <a:t>Перспектива</a:t>
            </a:r>
            <a:endParaRPr lang="ru-RU" sz="16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66355" y="2266949"/>
            <a:ext cx="3225645" cy="419735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300866" y="4396013"/>
            <a:ext cx="936145" cy="3429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,9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82319" y="4345213"/>
            <a:ext cx="936145" cy="3429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2,7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473236" y="4224563"/>
            <a:ext cx="936145" cy="3429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4,2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564153" y="4000372"/>
            <a:ext cx="936145" cy="3429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9,5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609281" y="4224563"/>
            <a:ext cx="936145" cy="3429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4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716044" y="4008535"/>
            <a:ext cx="936145" cy="3429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7,2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800210" y="3451226"/>
            <a:ext cx="936145" cy="3429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4,5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197467" y="6246224"/>
            <a:ext cx="366686" cy="2631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603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78572" y="1048592"/>
            <a:ext cx="66398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ЕИМУЩЕСТВА ПЕРЕХОДЯЩЕГО ФОНДА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1298550534"/>
              </p:ext>
            </p:extLst>
          </p:nvPr>
        </p:nvGraphicFramePr>
        <p:xfrm>
          <a:off x="1325431" y="2524843"/>
          <a:ext cx="5947544" cy="3445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953647" y="4326256"/>
            <a:ext cx="635000" cy="495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</a:t>
            </a:r>
            <a:endParaRPr lang="ru-RU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944247" y="4033030"/>
            <a:ext cx="635000" cy="495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</a:t>
            </a:r>
            <a:endParaRPr lang="ru-RU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075130" y="3684343"/>
            <a:ext cx="635000" cy="495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</a:t>
            </a:r>
            <a:endParaRPr lang="ru-RU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206013" y="3278115"/>
            <a:ext cx="635000" cy="495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</a:t>
            </a:r>
            <a:endParaRPr lang="ru-RU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338285" y="2706400"/>
            <a:ext cx="635000" cy="4953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3</a:t>
            </a:r>
            <a:endParaRPr lang="ru-RU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843662" y="2078944"/>
            <a:ext cx="511947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лияние послеуборочного дозревания семян </a:t>
            </a:r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всхожесть озимых культур (%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664267" y="4466443"/>
            <a:ext cx="3298241" cy="1938992"/>
          </a:xfrm>
          <a:prstGeom prst="rect">
            <a:avLst/>
          </a:prstGeom>
          <a:solidFill>
            <a:srgbClr val="31B146"/>
          </a:solidFill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лько через 25 дней всхожесть достигнет показателей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СТ</a:t>
            </a:r>
          </a:p>
          <a:p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теря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схожести 25%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до увеличить норму высева на 25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;</a:t>
            </a:r>
          </a:p>
          <a:p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ли получаем изреженные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севы.</a:t>
            </a:r>
          </a:p>
          <a:p>
            <a:endParaRPr lang="ru-RU" sz="1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сев свежеубранными семенами дают снижение перезимовки растений на 40% и более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RU" sz="105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272975" y="1617440"/>
            <a:ext cx="4552260" cy="8002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анным ФГБОУ ВО «Казанский ГАУ»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рожайность со свежеубранных семян - 40 ц/га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з семян переходящего фонда - 45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ц/г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(+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ц/га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182103" y="5478515"/>
            <a:ext cx="635000" cy="49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ь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86360" y="2573636"/>
            <a:ext cx="1349951" cy="49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хожесть, %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350922" y="5478515"/>
            <a:ext cx="635000" cy="49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ь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483037" y="5478515"/>
            <a:ext cx="635000" cy="49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ь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597734" y="5475433"/>
            <a:ext cx="635000" cy="49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ь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715056" y="5475433"/>
            <a:ext cx="635000" cy="49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ь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27233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2195303" y="840628"/>
            <a:ext cx="84103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ЛИЧИЕ ПЕРЕХОДЯЩЕГО ФОНДА ОЗИМЫХ КУЛЬТУР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536294"/>
              </p:ext>
            </p:extLst>
          </p:nvPr>
        </p:nvGraphicFramePr>
        <p:xfrm>
          <a:off x="1544068" y="1553048"/>
          <a:ext cx="9144647" cy="49769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50467">
                  <a:extLst>
                    <a:ext uri="{9D8B030D-6E8A-4147-A177-3AD203B41FA5}">
                      <a16:colId xmlns:a16="http://schemas.microsoft.com/office/drawing/2014/main" xmlns="" val="379716347"/>
                    </a:ext>
                  </a:extLst>
                </a:gridCol>
                <a:gridCol w="2897507">
                  <a:extLst>
                    <a:ext uri="{9D8B030D-6E8A-4147-A177-3AD203B41FA5}">
                      <a16:colId xmlns:a16="http://schemas.microsoft.com/office/drawing/2014/main" xmlns="" val="1756160860"/>
                    </a:ext>
                  </a:extLst>
                </a:gridCol>
                <a:gridCol w="2796673">
                  <a:extLst>
                    <a:ext uri="{9D8B030D-6E8A-4147-A177-3AD203B41FA5}">
                      <a16:colId xmlns:a16="http://schemas.microsoft.com/office/drawing/2014/main" xmlns="" val="4018673251"/>
                    </a:ext>
                  </a:extLst>
                </a:gridCol>
              </a:tblGrid>
              <a:tr h="386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4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ор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68" marR="8668" marT="8668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 переходящего </a:t>
                      </a:r>
                      <a:r>
                        <a:rPr lang="ru-RU" sz="14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нда под урожая 2021г, </a:t>
                      </a:r>
                      <a:r>
                        <a:rPr lang="ru-RU" sz="140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н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68" marR="8668" marT="8668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еспеченность, 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68" marR="8668" marT="8668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60311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ОО «АПК 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дпрограмма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9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47335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ОО «Союз-Агро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5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91095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О «РАЦИН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7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4653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ОО «Сервис Агро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9810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О «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гросила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5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52889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ОО «Хузангаевское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01810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ОО «Агро-Основа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924413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О Фирма «Август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28739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Красный Восток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6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92716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ОО «Агроинвест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829918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О «Татагролизинг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54895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О «ХК «Ак Барс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86741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ОО «АФ «Родные края-Туган Як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90837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Волга-Селект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4157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Чистай-Агро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13135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АФ «Чистопольская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54888363"/>
                  </a:ext>
                </a:extLst>
              </a:tr>
            </a:tbl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9263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71383" y="972042"/>
            <a:ext cx="113224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ТРЕБНОСТЬ СЕМЯН ДЛЯ ЗАСЫПКИ 100% ПЕРЕХОДЯЩЕГО ФОНДА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7699522"/>
              </p:ext>
            </p:extLst>
          </p:nvPr>
        </p:nvGraphicFramePr>
        <p:xfrm>
          <a:off x="1225178" y="1608636"/>
          <a:ext cx="6340949" cy="51902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23917">
                  <a:extLst>
                    <a:ext uri="{9D8B030D-6E8A-4147-A177-3AD203B41FA5}">
                      <a16:colId xmlns:a16="http://schemas.microsoft.com/office/drawing/2014/main" xmlns="" val="379716347"/>
                    </a:ext>
                  </a:extLst>
                </a:gridCol>
                <a:gridCol w="1917032">
                  <a:extLst>
                    <a:ext uri="{9D8B030D-6E8A-4147-A177-3AD203B41FA5}">
                      <a16:colId xmlns:a16="http://schemas.microsoft.com/office/drawing/2014/main" xmlns="" val="3129292438"/>
                    </a:ext>
                  </a:extLst>
                </a:gridCol>
              </a:tblGrid>
              <a:tr h="5376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4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ор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68" marR="8668" marT="8668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ребность семян 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ходящего фонда, </a:t>
                      </a:r>
                      <a:r>
                        <a:rPr lang="ru-RU" sz="140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н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68" marR="8668" marT="8668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6031110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Красный Восток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199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47335262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АО «ХК «Ак Барс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09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9109572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АО «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росила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8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4653839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ОО «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роинвест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55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9810899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АО Фирма «Август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72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5288972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ОО «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узангаевское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17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0181057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ОО «АПК </a:t>
                      </a: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программа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92441307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Волга-Селект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5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2873917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АО «Татагролизинг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6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9271654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ОО «Агро-Основа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82991893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АО «РАЦИН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9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5489544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ОО «АФ «Родные края-Туган Як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8674153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АФ «Чистопольская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6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90837343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ОО «Сервис Агро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3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4157977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ОО «Союз-Агро»</a:t>
                      </a:r>
                    </a:p>
                  </a:txBody>
                  <a:tcPr marL="857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1313569"/>
                  </a:ext>
                </a:extLst>
              </a:tr>
              <a:tr h="207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«Чистай-Агро»</a:t>
                      </a:r>
                    </a:p>
                  </a:txBody>
                  <a:tcPr marL="857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54888363"/>
                  </a:ext>
                </a:extLst>
              </a:tr>
            </a:tbl>
          </a:graphicData>
        </a:graphic>
      </p:graphicFrame>
      <p:sp>
        <p:nvSpPr>
          <p:cNvPr id="15" name="AutoShape 2" descr="Семена ржи оптом по низким ценам от производителей, торги в Москв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128" name="Picture 8" descr="Рожь зерно – Сунгар агро, ТОО | all.biz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3826" y="4203477"/>
            <a:ext cx="3283079" cy="2181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Семена озимой пшеницы Гурт, Адель, Безостая 100, Васса, Курс, Таня, Уруп и  др. : Краснодарский край - Торговый центр | Доска объявлений с/x товаров —  AgroXX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3826" y="1854558"/>
            <a:ext cx="3283079" cy="21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16552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703790" y="798790"/>
            <a:ext cx="110457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СЕННИЕ МЕРОПРИЯТИЯ НА ОЗИМЫХ КУЛЬТУРАХ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7894" y="3067050"/>
            <a:ext cx="2380760" cy="11049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7894" y="4199438"/>
            <a:ext cx="2380760" cy="2082419"/>
          </a:xfrm>
          <a:prstGeom prst="rect">
            <a:avLst/>
          </a:prstGeom>
        </p:spPr>
      </p:pic>
      <p:pic>
        <p:nvPicPr>
          <p:cNvPr id="9" name="Picture 4" descr="Мучнистая роса"/>
          <p:cNvPicPr preferRelativeResize="0">
            <a:picLocks noChangeArrowheads="1"/>
          </p:cNvPicPr>
          <p:nvPr/>
        </p:nvPicPr>
        <p:blipFill rotWithShape="1">
          <a:blip r:embed="rId4" r:link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28592" y="3057525"/>
            <a:ext cx="2653573" cy="1747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8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8591" y="4838820"/>
            <a:ext cx="2653573" cy="1443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2" name="Picture 2" descr="Avgust crop protection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26767" y="4528098"/>
            <a:ext cx="2704216" cy="1729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Сообщение с поля «Пшеница озимая на орошении. Украина. Херсонская область»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19728" y="3076574"/>
            <a:ext cx="2704216" cy="1423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617889" y="6257925"/>
            <a:ext cx="2704216" cy="276999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рбицидная обработка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897002" y="6281857"/>
            <a:ext cx="2720035" cy="46166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равитель инсектицидны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ыскивание инсектицидом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219712" y="6296929"/>
            <a:ext cx="2653573" cy="46166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равитель </a:t>
            </a:r>
            <a:r>
              <a:rPr lang="ru-RU" sz="1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гицидный</a:t>
            </a:r>
            <a:endParaRPr lang="ru-RU" sz="1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ыскивание фунгицидом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29382" y="1288627"/>
            <a:ext cx="1394585" cy="400110"/>
          </a:xfrm>
          <a:prstGeom prst="rect">
            <a:avLst/>
          </a:prstGeom>
          <a:solidFill>
            <a:srgbClr val="366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ЬБА</a:t>
            </a:r>
            <a:endParaRPr 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3339" y="2037175"/>
            <a:ext cx="1951071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 сорняками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осо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вьюно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ярутка полева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подмаренник цепкий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251140" y="2035720"/>
            <a:ext cx="1951071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 вредителями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хлебные блош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шведская мух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озимая мух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гессенская муха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552574" y="2024115"/>
            <a:ext cx="1951071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 болезнями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снежная плесен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мучнистая рос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бурая ржавчин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корневые гнили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Соединительная линия уступом 5"/>
          <p:cNvCxnSpPr>
            <a:stCxn id="7" idx="2"/>
            <a:endCxn id="28" idx="0"/>
          </p:cNvCxnSpPr>
          <p:nvPr/>
        </p:nvCxnSpPr>
        <p:spPr>
          <a:xfrm rot="5400000">
            <a:off x="4428556" y="239056"/>
            <a:ext cx="348438" cy="3247800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Соединительная линия уступом 12"/>
          <p:cNvCxnSpPr>
            <a:stCxn id="7" idx="2"/>
            <a:endCxn id="32" idx="0"/>
          </p:cNvCxnSpPr>
          <p:nvPr/>
        </p:nvCxnSpPr>
        <p:spPr>
          <a:xfrm rot="16200000" flipH="1">
            <a:off x="7709703" y="205708"/>
            <a:ext cx="335378" cy="3301435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>
            <a:stCxn id="7" idx="2"/>
            <a:endCxn id="29" idx="0"/>
          </p:cNvCxnSpPr>
          <p:nvPr/>
        </p:nvCxnSpPr>
        <p:spPr>
          <a:xfrm rot="16200000" flipH="1">
            <a:off x="6053184" y="1862227"/>
            <a:ext cx="346983" cy="1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6682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35709" y="1068213"/>
            <a:ext cx="113224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ДАЧА НА ОЗИМЫХ КУЛЬТУРАХ – </a:t>
            </a:r>
          </a:p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00% ПЕРЕЗИМОВКИ ВСЕХ ПЛОЩАДЕЙ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C:\Users\Новичков\Desktop\Видеоконференции\Фотоматериалы\озимые\озим\IMG-20160504-WA004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36499" y="2767986"/>
            <a:ext cx="2885734" cy="2132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4510" y="2767987"/>
            <a:ext cx="2811863" cy="213227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7111" y="2767985"/>
            <a:ext cx="2567111" cy="213227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716517" y="2306902"/>
            <a:ext cx="22082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ояние с осен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04552" y="2306902"/>
            <a:ext cx="2149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ояние весной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899871" y="2306902"/>
            <a:ext cx="1121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 уборке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215871" y="5371320"/>
            <a:ext cx="25081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изываем работать </a:t>
            </a:r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этот результат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Стрелка вправо 5"/>
          <p:cNvSpPr/>
          <p:nvPr/>
        </p:nvSpPr>
        <p:spPr>
          <a:xfrm rot="16200000">
            <a:off x="10295250" y="4802293"/>
            <a:ext cx="330381" cy="758855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759510" y="2767985"/>
            <a:ext cx="2717116" cy="14773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Хороший предшественник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ачественные семена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птимальные сроки сева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итание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сенняя защита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18973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678079" y="2573712"/>
            <a:ext cx="1504393" cy="859154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птимальная структур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319938" y="2573712"/>
            <a:ext cx="1690211" cy="859154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еменоводство</a:t>
            </a:r>
            <a:endParaRPr lang="ru-RU" sz="17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147615" y="2572198"/>
            <a:ext cx="2013208" cy="860668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правление формированием урожа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298288" y="2572198"/>
            <a:ext cx="2055261" cy="859364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ехнологическая </a:t>
            </a:r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исциплин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9491014" y="2572198"/>
            <a:ext cx="1359197" cy="860668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адр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223524" y="3909042"/>
            <a:ext cx="1265061" cy="360040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щит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822483" y="3893598"/>
            <a:ext cx="1265061" cy="360040"/>
          </a:xfrm>
          <a:prstGeom prst="rect">
            <a:avLst/>
          </a:prstGeom>
          <a:solidFill>
            <a:schemeClr val="bg1"/>
          </a:solidFill>
          <a:ln w="9525"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итание</a:t>
            </a:r>
          </a:p>
        </p:txBody>
      </p:sp>
      <p:pic>
        <p:nvPicPr>
          <p:cNvPr id="18" name="Picture 4" descr="E:\1\D\Фото БАЗА\фотоподборка\подсолн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92435" y="4750710"/>
            <a:ext cx="3116417" cy="16043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2" descr="E:\Видеоконференции\Фотоматериалы\пшенуца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0799" y="4750711"/>
            <a:ext cx="2530107" cy="1604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0381" y="4750711"/>
            <a:ext cx="2580820" cy="1604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08072" y="1358626"/>
            <a:ext cx="3485142" cy="369332"/>
          </a:xfrm>
          <a:prstGeom prst="rect">
            <a:avLst/>
          </a:prstGeom>
          <a:solidFill>
            <a:srgbClr val="366000"/>
          </a:solidFill>
          <a:ln>
            <a:solidFill>
              <a:srgbClr val="366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ГАЕМЫЕ УРОЖАЯ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828800" y="2371725"/>
            <a:ext cx="8702401" cy="0"/>
          </a:xfrm>
          <a:prstGeom prst="line">
            <a:avLst/>
          </a:prstGeom>
          <a:ln>
            <a:solidFill>
              <a:srgbClr val="366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трелка вниз 23"/>
          <p:cNvSpPr/>
          <p:nvPr/>
        </p:nvSpPr>
        <p:spPr>
          <a:xfrm>
            <a:off x="5683704" y="1832733"/>
            <a:ext cx="941029" cy="434217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4860583" y="3781425"/>
            <a:ext cx="2587967" cy="0"/>
          </a:xfrm>
          <a:prstGeom prst="line">
            <a:avLst/>
          </a:prstGeom>
          <a:ln>
            <a:solidFill>
              <a:srgbClr val="366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трелка вниз 26"/>
          <p:cNvSpPr/>
          <p:nvPr/>
        </p:nvSpPr>
        <p:spPr>
          <a:xfrm>
            <a:off x="5789920" y="3528560"/>
            <a:ext cx="728597" cy="20955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2842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26764" y="1159521"/>
            <a:ext cx="7063434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6082" y="883349"/>
            <a:ext cx="9068161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УКТУРА ПОСЕВНЫХ ПЛОЩАДЕЙ – КАК ДОЛЖНО БЫТЬ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321508" y="1808734"/>
            <a:ext cx="2340140" cy="454761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00"/>
            </a:solidFill>
            <a:miter lim="800000"/>
            <a:headEnd/>
            <a:tailEnd/>
          </a:ln>
        </p:spPr>
        <p:txBody>
          <a:bodyPr lIns="72000" rIns="0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от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площади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пашни </a:t>
            </a:r>
            <a:r>
              <a:rPr lang="ru-RU" sz="1500" dirty="0" err="1" smtClean="0">
                <a:latin typeface="Arial" pitchFamily="34" charset="0"/>
                <a:cs typeface="Arial" pitchFamily="34" charset="0"/>
              </a:rPr>
              <a:t>минусовать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площад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паров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до 1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кормовых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до 1,4 га </a:t>
            </a:r>
            <a:r>
              <a:rPr lang="en-US" sz="1500" dirty="0">
                <a:latin typeface="Arial" pitchFamily="34" charset="0"/>
                <a:cs typeface="Arial" pitchFamily="34" charset="0"/>
              </a:rPr>
              <a:t/>
            </a:r>
            <a:br>
              <a:rPr lang="en-US" sz="1500" dirty="0">
                <a:latin typeface="Arial" pitchFamily="34" charset="0"/>
                <a:cs typeface="Arial" pitchFamily="34" charset="0"/>
              </a:rPr>
            </a:br>
            <a:r>
              <a:rPr lang="ru-RU" sz="1500" dirty="0" smtClean="0">
                <a:latin typeface="Arial" pitchFamily="34" charset="0"/>
                <a:cs typeface="Arial" pitchFamily="34" charset="0"/>
              </a:rPr>
              <a:t>на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1 </a:t>
            </a:r>
            <a:r>
              <a:rPr lang="ru-RU" sz="1500" dirty="0" err="1">
                <a:latin typeface="Arial" pitchFamily="34" charset="0"/>
                <a:cs typeface="Arial" pitchFamily="34" charset="0"/>
              </a:rPr>
              <a:t>усл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. голову ско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технических культур, картофеля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и овощ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оставшиеся площади занять зерновыми культурами</a:t>
            </a: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4976982" y="1790069"/>
            <a:ext cx="5361187" cy="54748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00"/>
            </a:solidFill>
            <a:miter lim="800000"/>
            <a:headEnd/>
            <a:tailEnd/>
          </a:ln>
        </p:spPr>
        <p:txBody>
          <a:bodyPr lIns="13500" tIns="0" rIns="13500" bIns="0" anchor="ctr" anchorCtr="1"/>
          <a:lstStyle/>
          <a:p>
            <a:pPr algn="ctr"/>
            <a:r>
              <a:rPr lang="ru-RU" sz="1500" dirty="0">
                <a:latin typeface="Arial" panose="020B0604020202020204" pitchFamily="34" charset="0"/>
                <a:cs typeface="Arial" pitchFamily="34" charset="0"/>
              </a:rPr>
              <a:t>в </a:t>
            </a:r>
            <a:r>
              <a:rPr lang="ru-RU" sz="1500" dirty="0" err="1">
                <a:latin typeface="Arial" pitchFamily="34" charset="0"/>
                <a:cs typeface="Arial" pitchFamily="34" charset="0"/>
              </a:rPr>
              <a:t>т.ч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. </a:t>
            </a:r>
            <a:r>
              <a:rPr lang="ru-RU" sz="1500" dirty="0" err="1">
                <a:latin typeface="Arial" pitchFamily="34" charset="0"/>
                <a:cs typeface="Arial" pitchFamily="34" charset="0"/>
              </a:rPr>
              <a:t>сидеральные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  (рекомендация МСХиП РТ – 100%)</a:t>
            </a:r>
            <a:br>
              <a:rPr lang="ru-RU" sz="1500" dirty="0">
                <a:latin typeface="Arial" pitchFamily="34" charset="0"/>
                <a:cs typeface="Arial" pitchFamily="34" charset="0"/>
              </a:rPr>
            </a:br>
            <a:r>
              <a:rPr lang="ru-RU" sz="15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(320 кг д.в., горчица, редька, донник)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972118" y="2481076"/>
            <a:ext cx="2996091" cy="185784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00"/>
            </a:solidFill>
            <a:miter lim="800000"/>
            <a:headEnd/>
            <a:tailEnd/>
          </a:ln>
        </p:spPr>
        <p:txBody>
          <a:bodyPr lIns="72000" tIns="0" rIns="13500" bIns="0" anchor="ctr"/>
          <a:lstStyle/>
          <a:p>
            <a:r>
              <a:rPr lang="ru-RU" sz="1400" dirty="0">
                <a:latin typeface="Arial" pitchFamily="34" charset="0"/>
                <a:cs typeface="Arial" pitchFamily="34" charset="0"/>
              </a:rPr>
              <a:t>структура кормового клина</a:t>
            </a:r>
          </a:p>
          <a:p>
            <a:r>
              <a:rPr lang="ru-RU" sz="1400" dirty="0">
                <a:latin typeface="Arial" pitchFamily="34" charset="0"/>
                <a:cs typeface="Arial" pitchFamily="34" charset="0"/>
              </a:rPr>
              <a:t>мн. травы - 70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% </a:t>
            </a:r>
            <a:r>
              <a:rPr lang="ru-RU" sz="1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0,9 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га на </a:t>
            </a:r>
            <a:r>
              <a:rPr lang="ru-RU" sz="140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усл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 гол.</a:t>
            </a:r>
            <a:r>
              <a:rPr lang="en-US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 err="1">
                <a:latin typeface="Arial" pitchFamily="34" charset="0"/>
                <a:cs typeface="Arial" pitchFamily="34" charset="0"/>
              </a:rPr>
              <a:t>одн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. травы - 13-15% </a:t>
            </a:r>
          </a:p>
          <a:p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(рапс – до 0,5 га корову)</a:t>
            </a:r>
          </a:p>
          <a:p>
            <a:r>
              <a:rPr lang="ru-RU" sz="1400" dirty="0">
                <a:latin typeface="Arial" pitchFamily="34" charset="0"/>
                <a:cs typeface="Arial" pitchFamily="34" charset="0"/>
              </a:rPr>
              <a:t>кукуруза - 15-17% </a:t>
            </a:r>
          </a:p>
          <a:p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(в </a:t>
            </a:r>
            <a:r>
              <a:rPr lang="ru-RU" sz="140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т.ч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 на зерно – 0,3 га </a:t>
            </a:r>
            <a:b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на корову)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4979573" y="4486588"/>
            <a:ext cx="1842568" cy="73087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00"/>
            </a:solidFill>
            <a:miter lim="800000"/>
            <a:headEnd/>
            <a:tailEnd/>
          </a:ln>
        </p:spPr>
        <p:txBody>
          <a:bodyPr lIns="27000" tIns="0" rIns="27000" bIns="0" anchor="ctr"/>
          <a:lstStyle/>
          <a:p>
            <a:pPr algn="ctr"/>
            <a:r>
              <a:rPr lang="ru-RU" sz="1500" dirty="0" err="1">
                <a:latin typeface="Arial" pitchFamily="34" charset="0"/>
                <a:cs typeface="Arial" pitchFamily="34" charset="0"/>
              </a:rPr>
              <a:t>сах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. свекла</a:t>
            </a:r>
          </a:p>
          <a:p>
            <a:pPr algn="ctr"/>
            <a:r>
              <a:rPr lang="ru-RU" sz="1500" dirty="0">
                <a:latin typeface="Arial" pitchFamily="34" charset="0"/>
                <a:cs typeface="Arial" pitchFamily="34" charset="0"/>
              </a:rPr>
              <a:t>рапс, картофель</a:t>
            </a:r>
            <a:r>
              <a:rPr lang="en-US" sz="1500" dirty="0">
                <a:latin typeface="Arial" pitchFamily="34" charset="0"/>
                <a:cs typeface="Arial" pitchFamily="34" charset="0"/>
              </a:rPr>
              <a:t>,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ru-RU" sz="1500" dirty="0">
                <a:latin typeface="Arial" pitchFamily="34" charset="0"/>
                <a:cs typeface="Arial" pitchFamily="34" charset="0"/>
              </a:rPr>
              <a:t>овощи</a:t>
            </a: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4983491" y="5369860"/>
            <a:ext cx="5354354" cy="98649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00"/>
            </a:solidFill>
            <a:miter lim="800000"/>
            <a:headEnd/>
            <a:tailEnd/>
          </a:ln>
        </p:spPr>
        <p:txBody>
          <a:bodyPr lIns="27000" tIns="0" rIns="0" bIns="0"/>
          <a:lstStyle/>
          <a:p>
            <a:r>
              <a:rPr lang="ru-RU" sz="1500" dirty="0">
                <a:latin typeface="Arial" panose="020B0604020202020204" pitchFamily="34" charset="0"/>
                <a:cs typeface="Arial" pitchFamily="34" charset="0"/>
              </a:rPr>
              <a:t>    Площадь озимых не менее 30% от площади зерновых как страховая культура </a:t>
            </a:r>
            <a:r>
              <a:rPr lang="ru-RU" sz="1500" dirty="0" smtClean="0">
                <a:latin typeface="Arial" panose="020B0604020202020204" pitchFamily="34" charset="0"/>
                <a:cs typeface="Arial" pitchFamily="34" charset="0"/>
              </a:rPr>
              <a:t>(</a:t>
            </a:r>
            <a:r>
              <a:rPr lang="ru-RU" sz="1500" dirty="0">
                <a:latin typeface="Arial" panose="020B0604020202020204" pitchFamily="34" charset="0"/>
                <a:cs typeface="Arial" pitchFamily="34" charset="0"/>
              </a:rPr>
              <a:t>особенно в засушливые годы), </a:t>
            </a:r>
            <a:br>
              <a:rPr lang="ru-RU" sz="1500" dirty="0">
                <a:latin typeface="Arial" panose="020B0604020202020204" pitchFamily="34" charset="0"/>
                <a:cs typeface="Arial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itchFamily="34" charset="0"/>
              </a:rPr>
              <a:t>хороший предшественник для большинства культур – </a:t>
            </a:r>
            <a:br>
              <a:rPr lang="ru-RU" sz="1500" dirty="0">
                <a:latin typeface="Arial" panose="020B0604020202020204" pitchFamily="34" charset="0"/>
                <a:cs typeface="Arial" pitchFamily="34" charset="0"/>
              </a:rPr>
            </a:br>
            <a:r>
              <a:rPr lang="ru-RU" sz="15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горох должен занимать 10-12% зернового клина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8283389" y="2626053"/>
            <a:ext cx="2049282" cy="1481483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00"/>
            </a:solidFill>
            <a:miter lim="800000"/>
            <a:headEnd/>
            <a:tailEnd/>
          </a:ln>
        </p:spPr>
        <p:txBody>
          <a:bodyPr lIns="72000" tIns="0" rIns="13500" bIns="0"/>
          <a:lstStyle/>
          <a:p>
            <a:r>
              <a:rPr lang="ru-RU" sz="1500" dirty="0">
                <a:latin typeface="Arial" pitchFamily="34" charset="0"/>
                <a:cs typeface="Arial" pitchFamily="34" charset="0"/>
              </a:rPr>
              <a:t>из многолетних трав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злаковы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- 1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бобовы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- 5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бобово-злаковая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смесь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- 35%</a:t>
            </a:r>
          </a:p>
        </p:txBody>
      </p: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7144281" y="4485003"/>
            <a:ext cx="1829748" cy="722261"/>
          </a:xfrm>
          <a:prstGeom prst="rect">
            <a:avLst/>
          </a:prstGeom>
          <a:solidFill>
            <a:srgbClr val="FFFFFF"/>
          </a:solidFill>
          <a:ln w="9525">
            <a:solidFill>
              <a:srgbClr val="006600"/>
            </a:solidFill>
            <a:miter lim="800000"/>
            <a:headEnd/>
            <a:tailEnd/>
          </a:ln>
        </p:spPr>
        <p:txBody>
          <a:bodyPr lIns="13500" tIns="0" rIns="1350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1500" dirty="0">
                <a:latin typeface="Arial" panose="020B0604020202020204" pitchFamily="34" charset="0"/>
                <a:cs typeface="Arial" pitchFamily="34" charset="0"/>
              </a:rPr>
              <a:t>В зависимости </a:t>
            </a:r>
            <a:br>
              <a:rPr lang="ru-RU" sz="1500" dirty="0">
                <a:latin typeface="Arial" panose="020B0604020202020204" pitchFamily="34" charset="0"/>
                <a:cs typeface="Arial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itchFamily="34" charset="0"/>
              </a:rPr>
              <a:t>от оснащенности хозяйства</a:t>
            </a:r>
          </a:p>
        </p:txBody>
      </p:sp>
      <p:sp>
        <p:nvSpPr>
          <p:cNvPr id="13" name="AutoShape 4"/>
          <p:cNvSpPr>
            <a:spLocks noChangeArrowheads="1"/>
          </p:cNvSpPr>
          <p:nvPr/>
        </p:nvSpPr>
        <p:spPr bwMode="auto">
          <a:xfrm>
            <a:off x="4727235" y="6016288"/>
            <a:ext cx="186407" cy="185738"/>
          </a:xfrm>
          <a:prstGeom prst="homePlate">
            <a:avLst>
              <a:gd name="adj" fmla="val 92000"/>
            </a:avLst>
          </a:prstGeom>
          <a:solidFill>
            <a:srgbClr val="006600"/>
          </a:solidFill>
          <a:ln w="952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 noChangeArrowheads="1"/>
          </p:cNvSpPr>
          <p:nvPr/>
        </p:nvSpPr>
        <p:spPr bwMode="auto">
          <a:xfrm>
            <a:off x="4735945" y="4762851"/>
            <a:ext cx="186407" cy="185738"/>
          </a:xfrm>
          <a:prstGeom prst="homePlate">
            <a:avLst>
              <a:gd name="adj" fmla="val 92000"/>
            </a:avLst>
          </a:prstGeom>
          <a:solidFill>
            <a:srgbClr val="006600"/>
          </a:solidFill>
          <a:ln w="952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>
            <a:off x="4735925" y="3296968"/>
            <a:ext cx="186407" cy="185738"/>
          </a:xfrm>
          <a:prstGeom prst="homePlate">
            <a:avLst>
              <a:gd name="adj" fmla="val 92000"/>
            </a:avLst>
          </a:prstGeom>
          <a:solidFill>
            <a:srgbClr val="006600"/>
          </a:solidFill>
          <a:ln w="952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>
            <a:off x="4735925" y="2021449"/>
            <a:ext cx="186407" cy="185738"/>
          </a:xfrm>
          <a:prstGeom prst="homePlate">
            <a:avLst>
              <a:gd name="adj" fmla="val 92000"/>
            </a:avLst>
          </a:prstGeom>
          <a:solidFill>
            <a:srgbClr val="006600"/>
          </a:solidFill>
          <a:ln w="952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8035418" y="3269478"/>
            <a:ext cx="186407" cy="185738"/>
          </a:xfrm>
          <a:prstGeom prst="homePlate">
            <a:avLst>
              <a:gd name="adj" fmla="val 92000"/>
            </a:avLst>
          </a:prstGeom>
          <a:solidFill>
            <a:srgbClr val="006600"/>
          </a:solidFill>
          <a:ln w="952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utoShape 7"/>
          <p:cNvSpPr>
            <a:spLocks noChangeArrowheads="1"/>
          </p:cNvSpPr>
          <p:nvPr/>
        </p:nvSpPr>
        <p:spPr bwMode="auto">
          <a:xfrm flipH="1">
            <a:off x="6882473" y="4769995"/>
            <a:ext cx="177531" cy="171450"/>
          </a:xfrm>
          <a:prstGeom prst="homePlate">
            <a:avLst>
              <a:gd name="adj" fmla="val 92000"/>
            </a:avLst>
          </a:prstGeom>
          <a:solidFill>
            <a:srgbClr val="006600"/>
          </a:solidFill>
          <a:ln w="9525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620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35709" y="922333"/>
            <a:ext cx="113224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ДУКТИВНОСТЬ КОРМОВОГО КЛИНА У УЧАСТНИКОВ СОВЕЩАНИЯ 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281176"/>
              </p:ext>
            </p:extLst>
          </p:nvPr>
        </p:nvGraphicFramePr>
        <p:xfrm>
          <a:off x="1292777" y="1406225"/>
          <a:ext cx="8286651" cy="5217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0042">
                  <a:extLst>
                    <a:ext uri="{9D8B030D-6E8A-4147-A177-3AD203B41FA5}">
                      <a16:colId xmlns:a16="http://schemas.microsoft.com/office/drawing/2014/main" xmlns="" val="3871126334"/>
                    </a:ext>
                  </a:extLst>
                </a:gridCol>
                <a:gridCol w="1592203">
                  <a:extLst>
                    <a:ext uri="{9D8B030D-6E8A-4147-A177-3AD203B41FA5}">
                      <a16:colId xmlns:a16="http://schemas.microsoft.com/office/drawing/2014/main" xmlns="" val="849342521"/>
                    </a:ext>
                  </a:extLst>
                </a:gridCol>
                <a:gridCol w="1592203">
                  <a:extLst>
                    <a:ext uri="{9D8B030D-6E8A-4147-A177-3AD203B41FA5}">
                      <a16:colId xmlns:a16="http://schemas.microsoft.com/office/drawing/2014/main" xmlns="" val="872726403"/>
                    </a:ext>
                  </a:extLst>
                </a:gridCol>
                <a:gridCol w="1592203">
                  <a:extLst>
                    <a:ext uri="{9D8B030D-6E8A-4147-A177-3AD203B41FA5}">
                      <a16:colId xmlns:a16="http://schemas.microsoft.com/office/drawing/2014/main" xmlns="" val="2939237089"/>
                    </a:ext>
                  </a:extLst>
                </a:gridCol>
              </a:tblGrid>
              <a:tr h="288936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оры 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ное поголовье, гол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 кормового клина, г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ходиться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1 </a:t>
                      </a:r>
                      <a:r>
                        <a:rPr lang="ru-RU" sz="14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.гол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, г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26766119"/>
                  </a:ext>
                </a:extLst>
              </a:tr>
              <a:tr h="10144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УК «</a:t>
                      </a:r>
                      <a:r>
                        <a:rPr lang="ru-RU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гроИнвест</a:t>
                      </a:r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483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28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5497494"/>
                  </a:ext>
                </a:extLst>
              </a:tr>
              <a:tr h="90160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"АФ "Родные края-</a:t>
                      </a:r>
                      <a:r>
                        <a:rPr lang="ru-RU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уган</a:t>
                      </a:r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Як" 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2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"</a:t>
                      </a:r>
                      <a:r>
                        <a:rPr lang="ru-RU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атагролизинг</a:t>
                      </a:r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225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25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"Август-Муслюм"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49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51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"Рацин"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53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Сервис-Агро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04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98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Агро-Основа»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45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8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АФ «Чистопольская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1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4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"Чистай-Агро"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4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5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"ХК "Ак Барс"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09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477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"Хузангаевское"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0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96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"Союз-Агро"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74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64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78250343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"Агросила"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06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96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6474836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Красный Восток»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002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391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15349226"/>
                  </a:ext>
                </a:extLst>
              </a:tr>
              <a:tr h="69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</a:t>
                      </a:r>
                      <a:r>
                        <a:rPr lang="ru-RU" sz="1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«</a:t>
                      </a:r>
                      <a:r>
                        <a:rPr lang="ru-RU" sz="1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К </a:t>
                      </a:r>
                      <a:r>
                        <a:rPr lang="ru-RU" sz="1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д.программа</a:t>
                      </a:r>
                      <a:r>
                        <a:rPr lang="ru-RU" sz="1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»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42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74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12344387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76"/>
          <a:stretch/>
        </p:blipFill>
        <p:spPr>
          <a:xfrm>
            <a:off x="9639300" y="1403049"/>
            <a:ext cx="2552699" cy="5400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37961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952500" y="1009650"/>
            <a:ext cx="10972800" cy="4826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УРОЖАЙНОСТЬ В ЗАВИСИМОСТИ ОТ ПРЕДШЕСТВЕННИКА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542637392"/>
              </p:ext>
            </p:extLst>
          </p:nvPr>
        </p:nvGraphicFramePr>
        <p:xfrm>
          <a:off x="1076325" y="2082716"/>
          <a:ext cx="5199063" cy="414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Объект 8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680612801"/>
              </p:ext>
            </p:extLst>
          </p:nvPr>
        </p:nvGraphicFramePr>
        <p:xfrm>
          <a:off x="6470650" y="2217738"/>
          <a:ext cx="5121275" cy="4011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324167" y="1712268"/>
            <a:ext cx="3744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зимая пшеница,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н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/г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84757" y="1712268"/>
            <a:ext cx="3744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Яровая пшеница,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н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/г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096625" y="6470650"/>
            <a:ext cx="495300" cy="365125"/>
          </a:xfrm>
        </p:spPr>
        <p:txBody>
          <a:bodyPr/>
          <a:lstStyle/>
          <a:p>
            <a:r>
              <a:rPr lang="ru-RU" sz="1200" dirty="0" smtClean="0">
                <a:solidFill>
                  <a:prstClr val="black">
                    <a:tint val="75000"/>
                  </a:prstClr>
                </a:solidFill>
              </a:rPr>
              <a:t>24</a:t>
            </a:r>
            <a:endParaRPr lang="ru-RU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06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647825" y="1228725"/>
            <a:ext cx="9972675" cy="423863"/>
          </a:xfrm>
          <a:prstGeom prst="rect">
            <a:avLst/>
          </a:prstGeom>
          <a:noFill/>
          <a:effectLst/>
        </p:spPr>
        <p:txBody>
          <a:bodyPr vert="horz" wrap="square" rtlCol="0">
            <a:spAutoFit/>
          </a:bodyPr>
          <a:lstStyle/>
          <a:p>
            <a:pPr indent="-274320">
              <a:lnSpc>
                <a:spcPct val="90000"/>
              </a:lnSpc>
              <a:spcBef>
                <a:spcPct val="20000"/>
              </a:spcBef>
              <a:buClr>
                <a:schemeClr val="accent3"/>
              </a:buClr>
              <a:buSzPct val="95000"/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РЕКОМЕНДУЕМЫЕ ПРЕДШЕСТВЕННИКИ ОСНОВНЫХ КУЛЬТУР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026182"/>
              </p:ext>
            </p:extLst>
          </p:nvPr>
        </p:nvGraphicFramePr>
        <p:xfrm>
          <a:off x="1083584" y="2030705"/>
          <a:ext cx="10548705" cy="42446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6195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2867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16035"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тура</a:t>
                      </a:r>
                      <a:endParaRPr lang="ru-RU" sz="16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шественники</a:t>
                      </a:r>
                      <a:endParaRPr lang="ru-RU" sz="16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64086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имые зерновые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 чистый, </a:t>
                      </a:r>
                      <a:r>
                        <a:rPr lang="ru-RU" sz="14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деральный</a:t>
                      </a:r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однолетние травы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бобово-злаковые смеси), горох, многолетние травы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ровая пшениц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имые культуры, многолетние травы, бобовые (горох, вика), рапс, картофель, сахарная свекла, кукуруз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чмень, овес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имые культуры, многолетние травы, бобовые (горох, вика), рапс, картофель, сахарная свекла, кукуруза, яровая пшениц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6035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со, гречих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ноголетние травы, озимые культуры, бобовые (горох, вика), рапс, картофель, сахарная свекла, кукуруза, яровая пшениц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6035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х, вик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имые культуры, картофель, сахарная свекла, кукуруза, суданская трава, гречиха,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яровая пшеница, ячмень, овес, просо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60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харная свекла</a:t>
                      </a: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имые по чистому и </a:t>
                      </a:r>
                      <a:r>
                        <a:rPr lang="ru-RU" sz="14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деральному</a:t>
                      </a:r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арам, бобовые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ультуры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6035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пс на </a:t>
                      </a:r>
                      <a:r>
                        <a:rPr lang="ru-RU" sz="14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слосемен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имые культуры, горох, вика, картофель, яровая пшениц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096625" y="6470650"/>
            <a:ext cx="495300" cy="365125"/>
          </a:xfrm>
        </p:spPr>
        <p:txBody>
          <a:bodyPr/>
          <a:lstStyle/>
          <a:p>
            <a:r>
              <a:rPr lang="ru-RU" sz="1200" dirty="0" smtClean="0">
                <a:solidFill>
                  <a:prstClr val="black">
                    <a:tint val="75000"/>
                  </a:prstClr>
                </a:solidFill>
              </a:rPr>
              <a:t>25</a:t>
            </a:r>
            <a:endParaRPr lang="ru-RU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7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816784" y="1272289"/>
            <a:ext cx="100354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ИЗВОДСТВО ЗЕРНОЕДИНИЦ УЧАСТНИКОВ СОВЕЩАНИЯ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8870278"/>
              </p:ext>
            </p:extLst>
          </p:nvPr>
        </p:nvGraphicFramePr>
        <p:xfrm>
          <a:off x="1191309" y="2214718"/>
          <a:ext cx="7618814" cy="43765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31086">
                  <a:extLst>
                    <a:ext uri="{9D8B030D-6E8A-4147-A177-3AD203B41FA5}">
                      <a16:colId xmlns:a16="http://schemas.microsoft.com/office/drawing/2014/main" xmlns="" val="2661657455"/>
                    </a:ext>
                  </a:extLst>
                </a:gridCol>
                <a:gridCol w="3887728">
                  <a:extLst>
                    <a:ext uri="{9D8B030D-6E8A-4147-A177-3AD203B41FA5}">
                      <a16:colId xmlns:a16="http://schemas.microsoft.com/office/drawing/2014/main" xmlns="" val="1605557377"/>
                    </a:ext>
                  </a:extLst>
                </a:gridCol>
              </a:tblGrid>
              <a:tr h="1912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весторы</a:t>
                      </a:r>
                      <a:endParaRPr lang="ru-RU" sz="180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изведено </a:t>
                      </a:r>
                      <a:r>
                        <a:rPr lang="ru-RU" sz="180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ерноединиц</a:t>
                      </a:r>
                      <a:r>
                        <a:rPr lang="ru-RU" sz="180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80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8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80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 г., ц/га</a:t>
                      </a:r>
                    </a:p>
                  </a:txBody>
                  <a:tcPr marL="9525" marR="9525" marT="9525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4228815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гросила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,3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1279509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АПК 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программа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1790319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Сервис Агро»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1303797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гроинвест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,3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6836240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тагролизинг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5717629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АФ «Родные края-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уган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Як»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,0</a:t>
                      </a:r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620687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РТ</a:t>
                      </a:r>
                      <a:endParaRPr lang="ru-RU" sz="16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17" marR="8417" marT="8417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,2</a:t>
                      </a:r>
                      <a:endParaRPr lang="ru-RU" sz="16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17" marR="8417" marT="8417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1392680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ХК </a:t>
                      </a:r>
                      <a:r>
                        <a:rPr lang="ru-RU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Ак Барс»</a:t>
                      </a:r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27123905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узангаевское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,7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08799168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Фирма «Август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,1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04517415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Волга-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ект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8209130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Союз-Агро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,8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5250689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РАЦИН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,8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74856434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АФ «</a:t>
                      </a:r>
                      <a:r>
                        <a:rPr lang="ru-RU" sz="14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Чистопольская</a:t>
                      </a: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0837878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>
                        <a:tabLst>
                          <a:tab pos="2416175" algn="l"/>
                        </a:tabLst>
                      </a:pPr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Красный Восток»</a:t>
                      </a:r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43077704"/>
                  </a:ext>
                </a:extLst>
              </a:tr>
              <a:tr h="6543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4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Чистай</a:t>
                      </a:r>
                      <a:r>
                        <a:rPr lang="ru-RU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Агро»</a:t>
                      </a:r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28910054"/>
                  </a:ext>
                </a:extLst>
              </a:tr>
              <a:tr h="12834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Агро-Основа»</a:t>
                      </a:r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34068443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76096"/>
            <a:ext cx="2743200" cy="365125"/>
          </a:xfrm>
        </p:spPr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0000" y="2227231"/>
            <a:ext cx="3289300" cy="43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336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50627" y="984776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ЭФФЕКТИВНОСТЬ </a:t>
            </a: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NPK </a:t>
            </a:r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И </a:t>
            </a: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PH </a:t>
            </a:r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ПОЧВЫ, %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103492"/>
              </p:ext>
            </p:extLst>
          </p:nvPr>
        </p:nvGraphicFramePr>
        <p:xfrm>
          <a:off x="1171686" y="1792982"/>
          <a:ext cx="5124339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427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91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667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105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</a:t>
                      </a:r>
                      <a:endParaRPr lang="ru-RU" sz="1600" b="0" i="0" u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</a:t>
                      </a:r>
                      <a:endParaRPr lang="ru-RU" sz="1600" b="0" i="0" u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600" b="0" i="0" u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5</a:t>
                      </a:r>
                      <a:endParaRPr lang="ru-RU" sz="1600" b="0" i="0" u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600" b="0" i="0" u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5</a:t>
                      </a:r>
                      <a:endParaRPr lang="ru-RU" sz="1600" b="0" i="0" u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ru-RU" sz="1600" b="0" i="0" u="non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600" b="0" i="0" u="non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600" b="0" i="0" u="non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99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  <a:endParaRPr lang="ru-RU" sz="1600" b="0" i="0" u="none" dirty="0">
                        <a:solidFill>
                          <a:srgbClr val="9933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0066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  <a:endParaRPr lang="ru-RU" sz="1600" b="0" i="0" u="none" dirty="0">
                        <a:solidFill>
                          <a:srgbClr val="0066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0066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600" b="0" i="0" u="none" dirty="0">
                        <a:solidFill>
                          <a:srgbClr val="0066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2O5</a:t>
                      </a:r>
                      <a:endParaRPr lang="ru-RU" sz="1600" b="0" i="0" u="non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RU" sz="1600" b="0" i="0" u="non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600" b="0" i="0" u="non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  <a:endParaRPr lang="ru-RU" sz="1600" b="0" i="0" u="non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99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  <a:endParaRPr lang="ru-RU" sz="1600" b="0" i="0" u="none" dirty="0">
                        <a:solidFill>
                          <a:srgbClr val="9933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0066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600" b="0" i="0" u="none" dirty="0">
                        <a:solidFill>
                          <a:srgbClr val="0066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2O</a:t>
                      </a:r>
                      <a:endParaRPr lang="ru-RU" sz="1600" b="0" i="0" u="non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600" b="0" i="0" u="non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  <a:endParaRPr lang="ru-RU" sz="1600" b="0" i="0" u="non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99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  <a:endParaRPr lang="ru-RU" sz="1600" b="0" i="0" u="none" dirty="0">
                        <a:solidFill>
                          <a:srgbClr val="9933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0066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600" b="0" i="0" u="none" dirty="0">
                        <a:solidFill>
                          <a:srgbClr val="0066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dirty="0" smtClean="0">
                          <a:solidFill>
                            <a:srgbClr val="0066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600" b="0" i="0" u="none" dirty="0">
                        <a:solidFill>
                          <a:srgbClr val="0066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6766586" y="1779051"/>
            <a:ext cx="4587214" cy="123110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</a:rPr>
              <a:t>На кислых почвах минеральные удобрения 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</a:rPr>
              <a:t>не работают!</a:t>
            </a: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9872152"/>
              </p:ext>
            </p:extLst>
          </p:nvPr>
        </p:nvGraphicFramePr>
        <p:xfrm>
          <a:off x="581423" y="4240731"/>
          <a:ext cx="5872957" cy="2115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43036" y="3465873"/>
            <a:ext cx="5511344" cy="615549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труктура площадей кислых поч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руппам кислотности п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Т, %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01640" y="475347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2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47938" y="5394161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13932" y="556210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5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01509" y="4762007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14333" y="4327667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001125" y="6356350"/>
            <a:ext cx="2743200" cy="365125"/>
          </a:xfrm>
        </p:spPr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2783" y="3460584"/>
            <a:ext cx="4573965" cy="304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7421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58305" y="1077650"/>
            <a:ext cx="11310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ПЕРВИЧНОЙ КОРНЕВОЙ СИСТЕМЫ ЯРОВОЙ ПШЕНИЦЫ </a:t>
            </a:r>
          </a:p>
          <a:p>
            <a:pPr algn="ctr"/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ЗАВИСИМОСТИ ОТ рН ПОЧВЕННОГО РАСТВОРА (S. CARR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9265" y="2052919"/>
            <a:ext cx="10903752" cy="4805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Группа 8"/>
          <p:cNvGrpSpPr/>
          <p:nvPr/>
        </p:nvGrpSpPr>
        <p:grpSpPr>
          <a:xfrm>
            <a:off x="1330415" y="2054385"/>
            <a:ext cx="9973259" cy="461665"/>
            <a:chOff x="482600" y="1313986"/>
            <a:chExt cx="7689850" cy="461665"/>
          </a:xfrm>
        </p:grpSpPr>
        <p:sp>
          <p:nvSpPr>
            <p:cNvPr id="10" name="TextBox 4"/>
            <p:cNvSpPr txBox="1">
              <a:spLocks noChangeArrowheads="1"/>
            </p:cNvSpPr>
            <p:nvPr/>
          </p:nvSpPr>
          <p:spPr bwMode="auto">
            <a:xfrm>
              <a:off x="482600" y="1313986"/>
              <a:ext cx="100806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Н = 4,5</a:t>
              </a:r>
              <a:endPara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1" name="TextBox 6"/>
            <p:cNvSpPr txBox="1">
              <a:spLocks noChangeArrowheads="1"/>
            </p:cNvSpPr>
            <p:nvPr/>
          </p:nvSpPr>
          <p:spPr bwMode="auto">
            <a:xfrm>
              <a:off x="7164388" y="1313986"/>
              <a:ext cx="1008062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Н = 6,5</a:t>
              </a:r>
              <a:endPara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2" name="Прямая со стрелкой 11"/>
            <p:cNvCxnSpPr>
              <a:stCxn id="10" idx="3"/>
            </p:cNvCxnSpPr>
            <p:nvPr/>
          </p:nvCxnSpPr>
          <p:spPr>
            <a:xfrm>
              <a:off x="1490663" y="1544819"/>
              <a:ext cx="5602287" cy="0"/>
            </a:xfrm>
            <a:prstGeom prst="straightConnector1">
              <a:avLst/>
            </a:prstGeom>
            <a:ln>
              <a:solidFill>
                <a:schemeClr val="bg1"/>
              </a:solidFill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5047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611102"/>
              </p:ext>
            </p:extLst>
          </p:nvPr>
        </p:nvGraphicFramePr>
        <p:xfrm>
          <a:off x="1078090" y="1647136"/>
          <a:ext cx="5720643" cy="4867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7443">
                  <a:extLst>
                    <a:ext uri="{9D8B030D-6E8A-4147-A177-3AD203B41FA5}">
                      <a16:colId xmlns:a16="http://schemas.microsoft.com/office/drawing/2014/main" xmlns="" val="505536657"/>
                    </a:ext>
                  </a:extLst>
                </a:gridCol>
                <a:gridCol w="1456267">
                  <a:extLst>
                    <a:ext uri="{9D8B030D-6E8A-4147-A177-3AD203B41FA5}">
                      <a16:colId xmlns:a16="http://schemas.microsoft.com/office/drawing/2014/main" xmlns="" val="3631794651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xmlns="" val="16491253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ор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 кислых почв, </a:t>
                      </a:r>
                      <a:r>
                        <a:rPr lang="ru-RU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, </a:t>
                      </a:r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пашни</a:t>
                      </a:r>
                    </a:p>
                  </a:txBody>
                  <a:tcPr marL="9525" marR="9525" marT="9525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764909"/>
                  </a:ext>
                </a:extLst>
              </a:tr>
              <a:tr h="246434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сила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0,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,3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64956392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АПК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программа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,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637354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Сервис Агро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2199418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инвест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,2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,7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5118688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тагролизинг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7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,4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05272466"/>
                  </a:ext>
                </a:extLst>
              </a:tr>
              <a:tr h="42862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Ф «Родные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я-</a:t>
                      </a:r>
                    </a:p>
                    <a:p>
                      <a:pPr marL="108000" algn="l" fontAlgn="ctr"/>
                      <a:r>
                        <a:rPr lang="ru-RU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ган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к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,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41197465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«ХК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к Барс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,9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,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5124142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узангаевское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,5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8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86578550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Фирма «Август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,9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5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1881347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Волга-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ект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,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,1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94518348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Союз-Агро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,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7765420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«РАЦИН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,6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61469670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Ф «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опольская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,3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,6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4464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Красный Восток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,3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,0</a:t>
                      </a: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62268902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й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Агро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,9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,0</a:t>
                      </a:r>
                    </a:p>
                  </a:txBody>
                  <a:tcPr marL="9525" marR="9525" marT="9525" marB="0" anchor="b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59943858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гро-Основа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,2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,3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6957942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086671" y="3090927"/>
            <a:ext cx="4560287" cy="86177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опадания в программу 2021 года 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еобходимо формировать ПСД </a:t>
            </a:r>
          </a:p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01.09.2020</a:t>
            </a:r>
            <a:endParaRPr lang="ru-RU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0627" y="933500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ПРОГРАММА ИЗВЕСТКОВАНИЯ КИСЛЫХ ПОЧВ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086671" y="4228508"/>
            <a:ext cx="4560287" cy="107721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же сегодня при формировании структуры необходимо определить площади под известкование (пары, раннее убираемые культуры)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170029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869576" y="1303238"/>
            <a:ext cx="107318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ИСТЕМА ОБРАБОТКИ ПОЧВЫ ДЛЯ ОТДЕЛЬНЫХ ГРУПП КУЛЬТУР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9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48700" y="2762250"/>
            <a:ext cx="2385064" cy="2544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102051"/>
              </p:ext>
            </p:extLst>
          </p:nvPr>
        </p:nvGraphicFramePr>
        <p:xfrm>
          <a:off x="1698625" y="3443816"/>
          <a:ext cx="6911975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668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383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ru-RU" sz="14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чв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ru-RU" sz="14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вновесное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имальное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вые</a:t>
                      </a:r>
                      <a:endParaRPr lang="ru-RU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пашные</a:t>
                      </a:r>
                      <a:endParaRPr lang="ru-RU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рнозем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-1,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-1,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1,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рая лесна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5-1,4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5-1,25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1,2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рново-подзолиста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5-1,5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-1,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1,2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648075" y="2994311"/>
            <a:ext cx="3067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366000"/>
                </a:solidFill>
              </a:rPr>
              <a:t>Требования культур, г/см</a:t>
            </a:r>
            <a:endParaRPr lang="ru-RU" dirty="0">
              <a:solidFill>
                <a:srgbClr val="366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19375" y="2671706"/>
            <a:ext cx="5219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Оптимальная плотность для развития корней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253918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67562" y="1471120"/>
            <a:ext cx="9562388" cy="488523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5698" y="855566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ОСНОВНОЙ ОБРАБОТКЕ ДИСКОВЫМИ ОРУДИЯМИ: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0182888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98760" y="1504801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УГЛУБЛЕНИЕ ПАХОТНОГО СЛОЯ С ОСЕНИ – </a:t>
            </a:r>
          </a:p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ЗАЛОГ МАКСИМАЛЬНОГО НАКОПЛЕНИЯ ОСЕННЕ-ЗИМНИХ ОСАДКОВ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pic>
        <p:nvPicPr>
          <p:cNvPr id="6146" name="Picture 2" descr="Глубокорыхлители почвы 913 и 915 | Глубокорыхлители | John Deere UA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61104" y="2478397"/>
            <a:ext cx="5563522" cy="341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Sous-soleuse 5 corps - Helios Cracker 60 - GREGOIRE BESSON - 7 corps / avec  attelage trois points / avec rouleau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103" y="2478397"/>
            <a:ext cx="1492979" cy="1492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Чизельные плуги АЛМАЗ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3377" y="2478396"/>
            <a:ext cx="5125901" cy="341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320752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29" name="TextBox 1"/>
          <p:cNvSpPr txBox="1">
            <a:spLocks noChangeArrowheads="1"/>
          </p:cNvSpPr>
          <p:nvPr/>
        </p:nvSpPr>
        <p:spPr bwMode="auto">
          <a:xfrm>
            <a:off x="1598148" y="1236953"/>
            <a:ext cx="931645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ЛИЯНИЕ СПОСОБОВ ОБРАБОТКИ ПОЧВЫ НА НАКОПЛЕНИЕ ВЛАГИ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7410" name="Picture 4" descr="СПОСОБ БОРЬБЫ С БОЛОТНЫМИ СОРНЯКАМИ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DADADA"/>
              </a:clrFrom>
              <a:clrTo>
                <a:srgbClr val="DADAD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66" t="4730" b="45811"/>
          <a:stretch>
            <a:fillRect/>
          </a:stretch>
        </p:blipFill>
        <p:spPr bwMode="auto">
          <a:xfrm rot="179066">
            <a:off x="6501931" y="3069034"/>
            <a:ext cx="4376318" cy="151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" name="Picture 4" descr="СПОСОБ БОРЬБЫ С БОЛОТНЫМИ СОРНЯКАМ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66" t="4730" b="17889"/>
          <a:stretch>
            <a:fillRect/>
          </a:stretch>
        </p:blipFill>
        <p:spPr bwMode="auto">
          <a:xfrm rot="179066">
            <a:off x="1708377" y="3128618"/>
            <a:ext cx="4231039" cy="1514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Группа 8"/>
          <p:cNvGrpSpPr>
            <a:grpSpLocks/>
          </p:cNvGrpSpPr>
          <p:nvPr/>
        </p:nvGrpSpPr>
        <p:grpSpPr bwMode="auto">
          <a:xfrm rot="211048">
            <a:off x="1890765" y="2342412"/>
            <a:ext cx="3996080" cy="767176"/>
            <a:chOff x="642910" y="2714621"/>
            <a:chExt cx="3250570" cy="865938"/>
          </a:xfrm>
        </p:grpSpPr>
        <p:pic>
          <p:nvPicPr>
            <p:cNvPr id="17439" name="Picture 5" descr="C:\Users\Irek\Desktop\img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7DC6CD"/>
                </a:clrFrom>
                <a:clrTo>
                  <a:srgbClr val="7DC6C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10" y="2714621"/>
              <a:ext cx="1623887" cy="857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440" name="Picture 5" descr="C:\Users\Irek\Desktop\img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7DC6CD"/>
                </a:clrFrom>
                <a:clrTo>
                  <a:srgbClr val="7DC6C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9593" y="2723303"/>
              <a:ext cx="1623887" cy="857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7413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3641" y="3327472"/>
            <a:ext cx="1513775" cy="505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4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1730" y="3389725"/>
            <a:ext cx="1513775" cy="507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5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567" y="3453809"/>
            <a:ext cx="1513775" cy="505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6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6385" y="3580146"/>
            <a:ext cx="1513775" cy="507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Стрелка вправо 16"/>
          <p:cNvSpPr/>
          <p:nvPr/>
        </p:nvSpPr>
        <p:spPr>
          <a:xfrm rot="324347">
            <a:off x="2178329" y="3999145"/>
            <a:ext cx="3294821" cy="514125"/>
          </a:xfrm>
          <a:prstGeom prst="rightArrow">
            <a:avLst>
              <a:gd name="adj1" fmla="val 50000"/>
              <a:gd name="adj2" fmla="val 104429"/>
            </a:avLst>
          </a:prstGeom>
          <a:solidFill>
            <a:srgbClr val="0070C0"/>
          </a:solidFill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</a:rPr>
              <a:t>Поверхностная обработка</a:t>
            </a:r>
          </a:p>
        </p:txBody>
      </p:sp>
      <p:pic>
        <p:nvPicPr>
          <p:cNvPr id="17420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4214947">
            <a:off x="6795017" y="3198583"/>
            <a:ext cx="1091256" cy="645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4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4214947">
            <a:off x="7547800" y="3221686"/>
            <a:ext cx="1089425" cy="645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5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4214947">
            <a:off x="9094299" y="3323609"/>
            <a:ext cx="1089425" cy="645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6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4214947">
            <a:off x="8351893" y="3291753"/>
            <a:ext cx="1089425" cy="645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7" name="Picture 7" descr="C:\Users\Irek\Desktop\Безымянный-1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4214947">
            <a:off x="9854194" y="3368089"/>
            <a:ext cx="1089425" cy="645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30" name="TextBox 1"/>
          <p:cNvSpPr txBox="1">
            <a:spLocks noChangeArrowheads="1"/>
          </p:cNvSpPr>
          <p:nvPr/>
        </p:nvSpPr>
        <p:spPr bwMode="auto">
          <a:xfrm>
            <a:off x="1037598" y="5214679"/>
            <a:ext cx="5294627" cy="424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prstClr val="black"/>
                </a:solidFill>
                <a:cs typeface="Arial" charset="0"/>
              </a:rPr>
              <a:t>Осадки за вегетационный период – 350 мм</a:t>
            </a:r>
          </a:p>
        </p:txBody>
      </p:sp>
      <p:sp>
        <p:nvSpPr>
          <p:cNvPr id="17431" name="Прямоугольник 4"/>
          <p:cNvSpPr>
            <a:spLocks noChangeArrowheads="1"/>
          </p:cNvSpPr>
          <p:nvPr/>
        </p:nvSpPr>
        <p:spPr bwMode="auto">
          <a:xfrm>
            <a:off x="814680" y="5629938"/>
            <a:ext cx="48228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prstClr val="black"/>
                </a:solidFill>
                <a:cs typeface="Arial" charset="0"/>
              </a:rPr>
              <a:t>Осадки за зимний период – 155 м</a:t>
            </a:r>
          </a:p>
        </p:txBody>
      </p:sp>
      <p:sp>
        <p:nvSpPr>
          <p:cNvPr id="32" name="TextBox 1"/>
          <p:cNvSpPr txBox="1">
            <a:spLocks noChangeArrowheads="1"/>
          </p:cNvSpPr>
          <p:nvPr/>
        </p:nvSpPr>
        <p:spPr bwMode="auto">
          <a:xfrm>
            <a:off x="6465575" y="5338504"/>
            <a:ext cx="4545325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а – использовать  не менее 50% зимних осадков</a:t>
            </a:r>
          </a:p>
        </p:txBody>
      </p:sp>
      <p:sp>
        <p:nvSpPr>
          <p:cNvPr id="6" name="Прямоугольник 5"/>
          <p:cNvSpPr/>
          <p:nvPr/>
        </p:nvSpPr>
        <p:spPr>
          <a:xfrm rot="185130">
            <a:off x="7225676" y="4288144"/>
            <a:ext cx="2928827" cy="29834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prstClr val="white"/>
                </a:solidFill>
              </a:rPr>
              <a:t>Разноглубинная обработ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Равнобедренный треугольник 7"/>
          <p:cNvSpPr/>
          <p:nvPr/>
        </p:nvSpPr>
        <p:spPr>
          <a:xfrm rot="10978459">
            <a:off x="7229966" y="4577118"/>
            <a:ext cx="2902875" cy="273261"/>
          </a:xfrm>
          <a:prstGeom prst="triangle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437" name="Picture 5" descr="C:\Users\Irek\Desktop\im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7DC6CD"/>
              </a:clrFrom>
              <a:clrTo>
                <a:srgbClr val="7DC6C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3528">
            <a:off x="6621292" y="2333487"/>
            <a:ext cx="1835039" cy="697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8" name="Picture 5" descr="C:\Users\Irek\Desktop\im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7DC6CD"/>
              </a:clrFrom>
              <a:clrTo>
                <a:srgbClr val="7DC6C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3528">
            <a:off x="8439138" y="2441351"/>
            <a:ext cx="1835039" cy="697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5" descr="C:\Users\Irek\Desktop\img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7DC6CD"/>
              </a:clrFrom>
              <a:clrTo>
                <a:srgbClr val="7DC6C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203528">
            <a:off x="10258012" y="2512234"/>
            <a:ext cx="663042" cy="697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28106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46369" y="1331505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ПОЖНИВНЫЕ ПОСЕВЫ ПОСЛЕ ЯЧМЕНЯ</a:t>
            </a:r>
          </a:p>
          <a:p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АТНИНСКИЙ РАЙОН СХПК ИМ. ЛЕНИНА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pic>
        <p:nvPicPr>
          <p:cNvPr id="4" name="WhatsApp Video 2020-07-06 at 18.50.51">
            <a:hlinkClick r:id="" action="ppaction://media"/>
          </p:cNvPr>
          <p:cNvPicPr preferRelativeResize="0">
            <a:picLocks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31650" y="2281561"/>
            <a:ext cx="4571467" cy="382627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905500" y="3574623"/>
            <a:ext cx="3933826" cy="11541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ология – сев параллельно 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 уборкой (за комбайном)</a:t>
            </a:r>
          </a:p>
          <a:p>
            <a:pPr>
              <a:spcBef>
                <a:spcPts val="1800"/>
              </a:spcBef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 – до 150 ц/га органик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8019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Рисунок 6" descr="Борона прутковая.jpg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871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5903" y="3277918"/>
            <a:ext cx="2040205" cy="79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7" descr="Комбинированный диск+лапа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9650" y="2635368"/>
            <a:ext cx="1653654" cy="625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8" descr="Сеялка сошниковая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6023" y="2638939"/>
            <a:ext cx="1834838" cy="638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29239" y="1181433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ПРАВИЛЬНО ВЫБРАННАЯ СИСТЕМА ОБРАБОТКИ ПОЧВЫ </a:t>
            </a:r>
          </a:p>
          <a:p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ОБЕСПЕЧИВАЕТ СОХРАННОСТЬ ПРОДУКТИВНОЙ ВЛАГИ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8354844" y="2585225"/>
            <a:ext cx="1340036" cy="746405"/>
            <a:chOff x="9166709" y="2081109"/>
            <a:chExt cx="2464562" cy="1457496"/>
          </a:xfrm>
        </p:grpSpPr>
        <p:pic>
          <p:nvPicPr>
            <p:cNvPr id="11" name="Picture 2" descr="Трактор Беларус МТЗ 82.1 — Купить новый трактор в Москве по выгодной цене с  доставкой по России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7111" b="92889" l="2667" r="9777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56421" y="2081109"/>
              <a:ext cx="1274850" cy="1274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98182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9166709" y="2628424"/>
              <a:ext cx="1687972" cy="910181"/>
            </a:xfrm>
            <a:prstGeom prst="rect">
              <a:avLst/>
            </a:prstGeom>
            <a:scene3d>
              <a:camera prst="orthographicFront">
                <a:rot lat="0" lon="21000000" rev="0"/>
              </a:camera>
              <a:lightRig rig="threePt" dir="t"/>
            </a:scene3d>
          </p:spPr>
        </p:pic>
      </p:grpSp>
      <p:sp>
        <p:nvSpPr>
          <p:cNvPr id="14" name="TextBox 13"/>
          <p:cNvSpPr txBox="1"/>
          <p:nvPr/>
        </p:nvSpPr>
        <p:spPr>
          <a:xfrm>
            <a:off x="10213211" y="2883276"/>
            <a:ext cx="1878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лассическая технолог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Picture 4" descr="Комбинированный посевной комплекс FEAT с высевом в дисковый сошник — Агро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69790" y="4070534"/>
            <a:ext cx="6791384" cy="211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10317115" y="4802773"/>
            <a:ext cx="1774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а </a:t>
            </a:r>
          </a:p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5 в 1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103579" y="3516296"/>
            <a:ext cx="6477000" cy="0"/>
          </a:xfrm>
          <a:prstGeom prst="line">
            <a:avLst/>
          </a:prstGeom>
          <a:ln>
            <a:solidFill>
              <a:srgbClr val="366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авнобедренный треугольник 18"/>
          <p:cNvSpPr/>
          <p:nvPr/>
        </p:nvSpPr>
        <p:spPr>
          <a:xfrm rot="10800000">
            <a:off x="4418029" y="3523999"/>
            <a:ext cx="4014708" cy="409575"/>
          </a:xfrm>
          <a:prstGeom prst="triangle">
            <a:avLst/>
          </a:prstGeom>
          <a:solidFill>
            <a:srgbClr val="366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51682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84494" y="1282910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ПЕРСПЕКТИВА ОТРАСЛИ РАСТЕНИЕВОДСТВА В КОМБИНИРОВАНИИ ТЕХНОЛОГИЧЕСКИХ ПРОЦЕССОВ – 5 В 1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844" y="2274310"/>
            <a:ext cx="10893156" cy="2327597"/>
          </a:xfrm>
          <a:prstGeom prst="rect">
            <a:avLst/>
          </a:prstGeom>
        </p:spPr>
      </p:pic>
      <p:sp>
        <p:nvSpPr>
          <p:cNvPr id="4" name="Выноска 1 (без границы) 3"/>
          <p:cNvSpPr/>
          <p:nvPr/>
        </p:nvSpPr>
        <p:spPr>
          <a:xfrm>
            <a:off x="4765824" y="5046964"/>
            <a:ext cx="1722423" cy="575062"/>
          </a:xfrm>
          <a:prstGeom prst="callout1">
            <a:avLst>
              <a:gd name="adj1" fmla="val 15675"/>
              <a:gd name="adj2" fmla="val 105606"/>
              <a:gd name="adj3" fmla="val -94954"/>
              <a:gd name="adj4" fmla="val 139985"/>
            </a:avLst>
          </a:prstGeom>
          <a:solidFill>
            <a:srgbClr val="366000"/>
          </a:solidFill>
          <a:ln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1. Предпосевна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ботка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Выноска 1 (без границы) 11"/>
          <p:cNvSpPr/>
          <p:nvPr/>
        </p:nvSpPr>
        <p:spPr>
          <a:xfrm>
            <a:off x="4765824" y="5873363"/>
            <a:ext cx="1722423" cy="575062"/>
          </a:xfrm>
          <a:prstGeom prst="callout1">
            <a:avLst>
              <a:gd name="adj1" fmla="val 15675"/>
              <a:gd name="adj2" fmla="val 105606"/>
              <a:gd name="adj3" fmla="val -242700"/>
              <a:gd name="adj4" fmla="val 147395"/>
            </a:avLst>
          </a:prstGeom>
          <a:solidFill>
            <a:srgbClr val="366000"/>
          </a:solidFill>
          <a:ln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2. Внесение удобрений</a:t>
            </a:r>
          </a:p>
        </p:txBody>
      </p:sp>
      <p:sp>
        <p:nvSpPr>
          <p:cNvPr id="13" name="Выноска 1 (без границы) 12"/>
          <p:cNvSpPr/>
          <p:nvPr/>
        </p:nvSpPr>
        <p:spPr>
          <a:xfrm>
            <a:off x="7723172" y="4977754"/>
            <a:ext cx="1722423" cy="575062"/>
          </a:xfrm>
          <a:prstGeom prst="callout1">
            <a:avLst>
              <a:gd name="adj1" fmla="val 15675"/>
              <a:gd name="adj2" fmla="val 105606"/>
              <a:gd name="adj3" fmla="val -108537"/>
              <a:gd name="adj4" fmla="val 185994"/>
            </a:avLst>
          </a:prstGeom>
          <a:solidFill>
            <a:srgbClr val="366000"/>
          </a:solidFill>
          <a:ln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. Посев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Выноска 1 (без границы) 13"/>
          <p:cNvSpPr/>
          <p:nvPr/>
        </p:nvSpPr>
        <p:spPr>
          <a:xfrm>
            <a:off x="7723173" y="5685743"/>
            <a:ext cx="1722423" cy="762682"/>
          </a:xfrm>
          <a:prstGeom prst="callout1">
            <a:avLst>
              <a:gd name="adj1" fmla="val 15675"/>
              <a:gd name="adj2" fmla="val 105606"/>
              <a:gd name="adj3" fmla="val -167038"/>
              <a:gd name="adj4" fmla="val 190018"/>
            </a:avLst>
          </a:prstGeom>
          <a:solidFill>
            <a:srgbClr val="366000"/>
          </a:solidFill>
          <a:ln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4. Биологические препараты к семенам</a:t>
            </a:r>
          </a:p>
        </p:txBody>
      </p:sp>
      <p:sp>
        <p:nvSpPr>
          <p:cNvPr id="15" name="Выноска 1 (без границы) 14"/>
          <p:cNvSpPr/>
          <p:nvPr/>
        </p:nvSpPr>
        <p:spPr>
          <a:xfrm>
            <a:off x="9685323" y="6067084"/>
            <a:ext cx="1722423" cy="381341"/>
          </a:xfrm>
          <a:prstGeom prst="callout1">
            <a:avLst>
              <a:gd name="adj1" fmla="val 15675"/>
              <a:gd name="adj2" fmla="val 102952"/>
              <a:gd name="adj3" fmla="val -425981"/>
              <a:gd name="adj4" fmla="val 110676"/>
            </a:avLst>
          </a:prstGeom>
          <a:solidFill>
            <a:srgbClr val="366000"/>
          </a:solidFill>
          <a:ln>
            <a:solidFill>
              <a:srgbClr val="366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5. Прикатывание </a:t>
            </a:r>
          </a:p>
        </p:txBody>
      </p:sp>
      <p:sp>
        <p:nvSpPr>
          <p:cNvPr id="2" name="Овал 1"/>
          <p:cNvSpPr/>
          <p:nvPr/>
        </p:nvSpPr>
        <p:spPr>
          <a:xfrm>
            <a:off x="6977849" y="4225772"/>
            <a:ext cx="612559" cy="376136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10795187" y="3870410"/>
            <a:ext cx="612559" cy="603936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11363356" y="3994951"/>
            <a:ext cx="507907" cy="510667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572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438719" y="724294"/>
            <a:ext cx="9654981" cy="1092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400"/>
              </a:lnSpc>
            </a:pPr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АШНЯ УЧАСТНИКОВ СОВЕЩАНИЯ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9148795"/>
              </p:ext>
            </p:extLst>
          </p:nvPr>
        </p:nvGraphicFramePr>
        <p:xfrm>
          <a:off x="1157514" y="1740234"/>
          <a:ext cx="8004764" cy="48564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05088">
                  <a:extLst>
                    <a:ext uri="{9D8B030D-6E8A-4147-A177-3AD203B41FA5}">
                      <a16:colId xmlns:a16="http://schemas.microsoft.com/office/drawing/2014/main" xmlns="" val="412784191"/>
                    </a:ext>
                  </a:extLst>
                </a:gridCol>
                <a:gridCol w="1499838">
                  <a:extLst>
                    <a:ext uri="{9D8B030D-6E8A-4147-A177-3AD203B41FA5}">
                      <a16:colId xmlns:a16="http://schemas.microsoft.com/office/drawing/2014/main" xmlns="" val="2091886496"/>
                    </a:ext>
                  </a:extLst>
                </a:gridCol>
                <a:gridCol w="1499838">
                  <a:extLst>
                    <a:ext uri="{9D8B030D-6E8A-4147-A177-3AD203B41FA5}">
                      <a16:colId xmlns:a16="http://schemas.microsoft.com/office/drawing/2014/main" xmlns="" val="3703744572"/>
                    </a:ext>
                  </a:extLst>
                </a:gridCol>
              </a:tblGrid>
              <a:tr h="17356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8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весторы</a:t>
                      </a:r>
                      <a:endParaRPr lang="ru-RU" sz="180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80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шня, </a:t>
                      </a:r>
                      <a:r>
                        <a:rPr lang="ru-RU" sz="180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с.га</a:t>
                      </a:r>
                      <a:endParaRPr lang="ru-RU" sz="180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8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, </a:t>
                      </a:r>
                      <a:r>
                        <a:rPr lang="ru-RU" sz="180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пашни республики</a:t>
                      </a:r>
                    </a:p>
                  </a:txBody>
                  <a:tcPr marL="7338" marR="7338" marT="7338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91795240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К</a:t>
                      </a:r>
                      <a:r>
                        <a:rPr lang="ru-RU" sz="16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«</a:t>
                      </a:r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к Барс»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7,0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,2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79491596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гросила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4,0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8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8776339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Красный Восток»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2,3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,5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1107043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Фирма «Август»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7,6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9356451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гроинвест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3,5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3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2492518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узангаевское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,8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6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6301571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тагролизинг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,9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5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06421798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АПК 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программа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0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4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6932810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Волга-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ект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,8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4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98194379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Союз-Агро»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,6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3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4147231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6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Чистай</a:t>
                      </a:r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Агро»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,8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9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62402541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Агро-Основа»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,7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8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43329832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Сервис Агро»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,9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8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83447288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О «РАЦИН»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,6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7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99656898"/>
                  </a:ext>
                </a:extLst>
              </a:tr>
              <a:tr h="87642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Агрофирма «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Чистопольская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,0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6</a:t>
                      </a:r>
                    </a:p>
                  </a:txBody>
                  <a:tcPr marL="7338" marR="7338" marT="7338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5757939"/>
                  </a:ext>
                </a:extLst>
              </a:tr>
              <a:tr h="87642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ОО «Агрофирма «Родные края-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уган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Як»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,7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7338" marR="7338" marT="7338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17504291"/>
                  </a:ext>
                </a:extLst>
              </a:tr>
              <a:tr h="44680">
                <a:tc>
                  <a:txBody>
                    <a:bodyPr/>
                    <a:lstStyle/>
                    <a:p>
                      <a:pPr marL="108000" algn="l" defTabSz="91440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 по участникам</a:t>
                      </a:r>
                    </a:p>
                  </a:txBody>
                  <a:tcPr marL="7338" marR="7338" marT="7338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2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38" marR="7338" marT="733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,7</a:t>
                      </a:r>
                    </a:p>
                  </a:txBody>
                  <a:tcPr marL="7338" marR="7338" marT="733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8673131"/>
                  </a:ext>
                </a:extLst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59620" y="1741030"/>
            <a:ext cx="2945080" cy="484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5635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8987" y="1349406"/>
            <a:ext cx="4131446" cy="550859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278" y="1349406"/>
            <a:ext cx="4131446" cy="550859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84494" y="759126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К ТАКИМ ПОСЕВАМ ДОЛЖЕН СТРЕМИТЬСЯ КАЖДЫЙ 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49506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426764" y="981952"/>
            <a:ext cx="7063434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43050" y="815809"/>
            <a:ext cx="9953625" cy="1137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3000"/>
              </a:lnSpc>
            </a:pP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ТЕНЦИАЛЬНЫЕ ВОЗМОЖНОСТИ ФОРМИРОВАНИЯ ЗЕРНА ПО ВЛАГООБЕСПЕЧЕНИЮ ТЕРРИТОРИИ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340236" y="5551572"/>
            <a:ext cx="4156439" cy="6001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 fontAlgn="ctr"/>
            <a:r>
              <a:rPr lang="ru-RU" dirty="0" smtClean="0">
                <a:latin typeface="Arial" panose="020B0604020202020204" pitchFamily="34" charset="0"/>
                <a:cs typeface="Arial" pitchFamily="34" charset="0"/>
              </a:rPr>
              <a:t>Задача -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весной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иметь не менее 200 мм продуктивной влаги в метровом слое почвы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405839" y="5814288"/>
            <a:ext cx="31072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актический урожай?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3034" y="4787633"/>
            <a:ext cx="79637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sz="1700" dirty="0">
                <a:latin typeface="Arial" pitchFamily="34" charset="0"/>
                <a:cs typeface="Arial" pitchFamily="34" charset="0"/>
              </a:rPr>
              <a:t>    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Итого в </a:t>
            </a:r>
            <a:r>
              <a:rPr lang="ru-RU" sz="1700" dirty="0">
                <a:latin typeface="Arial" pitchFamily="34" charset="0"/>
                <a:cs typeface="Arial" pitchFamily="34" charset="0"/>
              </a:rPr>
              <a:t>год выпадает </a:t>
            </a:r>
            <a:r>
              <a:rPr lang="en-US" sz="17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ru-RU" sz="2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2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</a:t>
            </a:r>
            <a:r>
              <a:rPr lang="ru-RU" sz="17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мм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.</a:t>
            </a:r>
            <a:r>
              <a:rPr lang="ru-RU" sz="1700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7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Облако 14"/>
          <p:cNvSpPr/>
          <p:nvPr/>
        </p:nvSpPr>
        <p:spPr>
          <a:xfrm>
            <a:off x="1286359" y="2363356"/>
            <a:ext cx="2933680" cy="1774314"/>
          </a:xfrm>
          <a:prstGeom prst="cloud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600"/>
              </a:lnSpc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сенние осадки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ентябрь – 33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ктябрь – 47</a:t>
            </a:r>
          </a:p>
          <a:p>
            <a:pPr algn="ctr">
              <a:lnSpc>
                <a:spcPts val="1600"/>
              </a:lnSpc>
            </a:pPr>
            <a:r>
              <a:rPr lang="en-US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ек. ноябрь – 9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∑= 89 мм</a:t>
            </a:r>
          </a:p>
        </p:txBody>
      </p:sp>
      <p:sp>
        <p:nvSpPr>
          <p:cNvPr id="16" name="Облако 15"/>
          <p:cNvSpPr/>
          <p:nvPr/>
        </p:nvSpPr>
        <p:spPr>
          <a:xfrm>
            <a:off x="4366853" y="2335235"/>
            <a:ext cx="3827032" cy="2362188"/>
          </a:xfrm>
          <a:prstGeom prst="cloud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600"/>
              </a:lnSpc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имние осадки </a:t>
            </a:r>
          </a:p>
          <a:p>
            <a:pPr algn="ctr">
              <a:lnSpc>
                <a:spcPts val="1600"/>
              </a:lnSpc>
            </a:pPr>
            <a:r>
              <a:rPr lang="en-US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I-III </a:t>
            </a: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дек. ноябрь - 12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екабрь – 32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Январь – 37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евраль – 30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арт – 56</a:t>
            </a:r>
          </a:p>
          <a:p>
            <a:pPr algn="ctr">
              <a:lnSpc>
                <a:spcPts val="1600"/>
              </a:lnSpc>
            </a:pPr>
            <a:r>
              <a:rPr lang="en-US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-II</a:t>
            </a: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– декада апреля – 9,3</a:t>
            </a:r>
          </a:p>
          <a:p>
            <a:pPr algn="ctr">
              <a:lnSpc>
                <a:spcPts val="1600"/>
              </a:lnSpc>
            </a:pPr>
            <a:r>
              <a:rPr lang="ru-RU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∑=176 мм</a:t>
            </a:r>
          </a:p>
        </p:txBody>
      </p:sp>
      <p:sp>
        <p:nvSpPr>
          <p:cNvPr id="17" name="Облако 16"/>
          <p:cNvSpPr/>
          <p:nvPr/>
        </p:nvSpPr>
        <p:spPr>
          <a:xfrm>
            <a:off x="8193885" y="2288387"/>
            <a:ext cx="2748491" cy="2097128"/>
          </a:xfrm>
          <a:prstGeom prst="cloud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600"/>
              </a:lnSpc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Летние осадки</a:t>
            </a:r>
          </a:p>
          <a:p>
            <a:pPr algn="ctr">
              <a:lnSpc>
                <a:spcPts val="1600"/>
              </a:lnSpc>
            </a:pPr>
            <a:r>
              <a:rPr lang="en-US" sz="1400" i="1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II </a:t>
            </a:r>
            <a:r>
              <a:rPr lang="ru-RU" sz="1400" i="1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дек.</a:t>
            </a:r>
            <a:r>
              <a:rPr 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апрель - 4</a:t>
            </a:r>
          </a:p>
          <a:p>
            <a:pPr algn="ctr">
              <a:lnSpc>
                <a:spcPts val="1600"/>
              </a:lnSpc>
            </a:pPr>
            <a:r>
              <a:rPr 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ай – 55</a:t>
            </a:r>
          </a:p>
          <a:p>
            <a:pPr algn="ctr">
              <a:lnSpc>
                <a:spcPts val="1600"/>
              </a:lnSpc>
            </a:pPr>
            <a:r>
              <a:rPr 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юнь -49</a:t>
            </a:r>
          </a:p>
          <a:p>
            <a:pPr algn="ctr">
              <a:lnSpc>
                <a:spcPts val="1600"/>
              </a:lnSpc>
            </a:pPr>
            <a:r>
              <a:rPr 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юль – 53</a:t>
            </a:r>
          </a:p>
          <a:p>
            <a:pPr algn="ctr">
              <a:lnSpc>
                <a:spcPts val="1600"/>
              </a:lnSpc>
            </a:pPr>
            <a:r>
              <a:rPr 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Август -93</a:t>
            </a:r>
          </a:p>
          <a:p>
            <a:pPr algn="ctr">
              <a:lnSpc>
                <a:spcPts val="1600"/>
              </a:lnSpc>
            </a:pP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∑=254 мм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607178" y="5355720"/>
            <a:ext cx="12749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itchFamily="34" charset="0"/>
              </a:rPr>
              <a:t>Сток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528174" y="5292011"/>
            <a:ext cx="15067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itchFamily="34" charset="0"/>
              </a:rPr>
              <a:t>Испарение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340236" y="4787633"/>
            <a:ext cx="4156439" cy="6155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 fontAlgn="ctr"/>
            <a:r>
              <a:rPr lang="ru-RU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тенциал </a:t>
            </a:r>
            <a:r>
              <a:rPr lang="ru-RU" sz="17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рожайности </a:t>
            </a:r>
            <a:r>
              <a:rPr lang="en-US" sz="17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en-US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5</a:t>
            </a:r>
            <a:r>
              <a:rPr lang="ru-RU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/га </a:t>
            </a:r>
            <a:r>
              <a:rPr lang="ru-RU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ерна (10   мм осадков </a:t>
            </a:r>
            <a:r>
              <a:rPr lang="ru-RU" sz="17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= зерна 1,1 </a:t>
            </a:r>
            <a:r>
              <a:rPr lang="ru-RU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/га)</a:t>
            </a:r>
            <a:endParaRPr lang="ru-RU" sz="17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4912006" y="5283246"/>
            <a:ext cx="476250" cy="435539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Стрелка вправо 1"/>
          <p:cNvSpPr/>
          <p:nvPr/>
        </p:nvSpPr>
        <p:spPr>
          <a:xfrm rot="9383333">
            <a:off x="2974019" y="5583951"/>
            <a:ext cx="653762" cy="273545"/>
          </a:xfrm>
          <a:prstGeom prst="rightArrow">
            <a:avLst>
              <a:gd name="adj1" fmla="val 50000"/>
              <a:gd name="adj2" fmla="val 115108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 rot="1800000">
            <a:off x="6148018" y="5653003"/>
            <a:ext cx="653762" cy="273545"/>
          </a:xfrm>
          <a:prstGeom prst="rightArrow">
            <a:avLst>
              <a:gd name="adj1" fmla="val 50000"/>
              <a:gd name="adj2" fmla="val 115108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791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854695" y="1002118"/>
            <a:ext cx="8927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ЛЯЮЩИЕ УРОЖАЯ ЗЕРНОВЫХ КУЛЬТУР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97530" y="1746526"/>
            <a:ext cx="1637383" cy="584775"/>
          </a:xfrm>
          <a:prstGeom prst="rect">
            <a:avLst/>
          </a:prstGeom>
          <a:solidFill>
            <a:srgbClr val="D598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личество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лосьев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720682" y="1746526"/>
            <a:ext cx="1591507" cy="584775"/>
          </a:xfrm>
          <a:prstGeom prst="rect">
            <a:avLst/>
          </a:prstGeom>
          <a:solidFill>
            <a:srgbClr val="D598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личество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лосков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47613" y="1746526"/>
            <a:ext cx="1611454" cy="584775"/>
          </a:xfrm>
          <a:prstGeom prst="rect">
            <a:avLst/>
          </a:prstGeom>
          <a:solidFill>
            <a:srgbClr val="D598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личество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ерен в колосе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315855" y="1746526"/>
            <a:ext cx="1633105" cy="584775"/>
          </a:xfrm>
          <a:prstGeom prst="rect">
            <a:avLst/>
          </a:prstGeom>
          <a:solidFill>
            <a:srgbClr val="D598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асс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00 семян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400712" y="1851346"/>
            <a:ext cx="1278407" cy="400110"/>
          </a:xfrm>
          <a:prstGeom prst="rect">
            <a:avLst/>
          </a:prstGeom>
          <a:solidFill>
            <a:srgbClr val="D598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рожай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99720" y="1828595"/>
            <a:ext cx="3946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00068" y="1828595"/>
            <a:ext cx="3946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86164" y="1828595"/>
            <a:ext cx="3946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970885" y="1828595"/>
            <a:ext cx="3946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=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CFBF7"/>
              </a:clrFrom>
              <a:clrTo>
                <a:srgbClr val="FCFBF7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9940"/>
          <a:stretch/>
        </p:blipFill>
        <p:spPr>
          <a:xfrm>
            <a:off x="1532313" y="2577464"/>
            <a:ext cx="10435323" cy="27534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cxnSp>
        <p:nvCxnSpPr>
          <p:cNvPr id="16" name="Прямая со стрелкой 15"/>
          <p:cNvCxnSpPr/>
          <p:nvPr/>
        </p:nvCxnSpPr>
        <p:spPr>
          <a:xfrm>
            <a:off x="2563906" y="2916936"/>
            <a:ext cx="1775011" cy="2113664"/>
          </a:xfrm>
          <a:prstGeom prst="straightConnector1">
            <a:avLst/>
          </a:prstGeom>
          <a:ln w="381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4338917" y="2916936"/>
            <a:ext cx="1498243" cy="2113664"/>
          </a:xfrm>
          <a:prstGeom prst="straightConnector1">
            <a:avLst/>
          </a:prstGeom>
          <a:ln w="381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6947647" y="2916936"/>
            <a:ext cx="1459723" cy="2140281"/>
          </a:xfrm>
          <a:prstGeom prst="straightConnector1">
            <a:avLst/>
          </a:prstGeom>
          <a:ln w="381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9036424" y="2916936"/>
            <a:ext cx="1546027" cy="2131594"/>
          </a:xfrm>
          <a:prstGeom prst="straightConnector1">
            <a:avLst/>
          </a:prstGeom>
          <a:ln w="381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1397531" y="2393424"/>
            <a:ext cx="1637383" cy="604958"/>
          </a:xfrm>
          <a:prstGeom prst="rect">
            <a:avLst/>
          </a:prstGeom>
          <a:solidFill>
            <a:srgbClr val="366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 обработка:</a:t>
            </a:r>
          </a:p>
          <a:p>
            <a:pPr algn="ctr"/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Питание </a:t>
            </a:r>
            <a:r>
              <a:rPr lang="ru-RU" sz="1600" u="sng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+</a:t>
            </a:r>
            <a:r>
              <a:rPr lang="ru-RU" sz="16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СЗР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720683" y="2397500"/>
            <a:ext cx="1582164" cy="604958"/>
          </a:xfrm>
          <a:prstGeom prst="rect">
            <a:avLst/>
          </a:prstGeom>
          <a:solidFill>
            <a:srgbClr val="366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 обработка:</a:t>
            </a:r>
          </a:p>
          <a:p>
            <a:pPr algn="ctr"/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Питание </a:t>
            </a:r>
            <a:r>
              <a:rPr lang="ru-RU" sz="1600" u="sng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+</a:t>
            </a:r>
            <a:r>
              <a:rPr lang="en-US" sz="16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СЗР</a:t>
            </a:r>
            <a:endParaRPr lang="ru-RU" sz="16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047614" y="2397744"/>
            <a:ext cx="1611454" cy="604958"/>
          </a:xfrm>
          <a:prstGeom prst="rect">
            <a:avLst/>
          </a:prstGeom>
          <a:solidFill>
            <a:srgbClr val="366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 обработка:</a:t>
            </a:r>
          </a:p>
          <a:p>
            <a:pPr algn="ctr"/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Питание </a:t>
            </a:r>
            <a:r>
              <a:rPr lang="ru-RU" sz="1600" u="sng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+</a:t>
            </a:r>
            <a:r>
              <a:rPr lang="ru-RU" sz="16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СЗР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315854" y="2397212"/>
            <a:ext cx="1633105" cy="604958"/>
          </a:xfrm>
          <a:prstGeom prst="rect">
            <a:avLst/>
          </a:prstGeom>
          <a:solidFill>
            <a:srgbClr val="366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обработка:</a:t>
            </a:r>
          </a:p>
          <a:p>
            <a:pPr lvl="0" algn="ctr"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итание </a:t>
            </a:r>
            <a:r>
              <a:rPr lang="ru-RU" sz="1400" b="1" u="sng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+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СЗР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801035" y="5048530"/>
            <a:ext cx="1075765" cy="11583"/>
          </a:xfrm>
          <a:prstGeom prst="line">
            <a:avLst/>
          </a:prstGeom>
          <a:ln w="762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5312189" y="5060113"/>
            <a:ext cx="1049942" cy="0"/>
          </a:xfrm>
          <a:prstGeom prst="line">
            <a:avLst/>
          </a:prstGeom>
          <a:ln w="762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7778317" y="5045356"/>
            <a:ext cx="1258107" cy="5792"/>
          </a:xfrm>
          <a:prstGeom prst="line">
            <a:avLst/>
          </a:prstGeom>
          <a:ln w="762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10400712" y="5048530"/>
            <a:ext cx="363481" cy="0"/>
          </a:xfrm>
          <a:prstGeom prst="line">
            <a:avLst/>
          </a:prstGeom>
          <a:ln w="76200">
            <a:solidFill>
              <a:srgbClr val="366000"/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1066801" y="4002695"/>
            <a:ext cx="1055967" cy="2334097"/>
          </a:xfrm>
          <a:prstGeom prst="rect">
            <a:avLst/>
          </a:prstGeom>
          <a:solidFill>
            <a:schemeClr val="bg2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7987" y="4146478"/>
            <a:ext cx="107478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сновно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сени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добрени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478892"/>
              </p:ext>
            </p:extLst>
          </p:nvPr>
        </p:nvGraphicFramePr>
        <p:xfrm>
          <a:off x="609601" y="5339872"/>
          <a:ext cx="11367001" cy="10465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445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06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8488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558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2237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4917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2183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30937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53878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1453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724888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6467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21208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1031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1209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0-7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-13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1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9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1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2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7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9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49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1-59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1-69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71-75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5-86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t-RU" sz="1100" b="0" dirty="0" smtClean="0">
                          <a:latin typeface="Arial" pitchFamily="34" charset="0"/>
                          <a:cs typeface="Arial" pitchFamily="34" charset="0"/>
                        </a:rPr>
                        <a:t>посев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t-RU" sz="1100" b="0" dirty="0" smtClean="0">
                          <a:latin typeface="Arial" pitchFamily="34" charset="0"/>
                          <a:cs typeface="Arial" pitchFamily="34" charset="0"/>
                        </a:rPr>
                        <a:t>1,2,3 лист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t-RU" sz="1100" b="0" dirty="0" smtClean="0">
                          <a:latin typeface="Arial" pitchFamily="34" charset="0"/>
                          <a:cs typeface="Arial" pitchFamily="34" charset="0"/>
                        </a:rPr>
                        <a:t>начало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t-RU" sz="1100" b="0" dirty="0" smtClean="0">
                          <a:latin typeface="Arial" pitchFamily="34" charset="0"/>
                          <a:cs typeface="Arial" pitchFamily="34" charset="0"/>
                        </a:rPr>
                        <a:t>середина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t-RU" sz="1100" b="0" dirty="0" smtClean="0">
                          <a:latin typeface="Arial" pitchFamily="34" charset="0"/>
                          <a:cs typeface="Arial" pitchFamily="34" charset="0"/>
                        </a:rPr>
                        <a:t>коне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ц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выход в трубку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1-ое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2-ое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флаговый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 лист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язычок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открытие листовой пазухи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колоше-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ние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 grid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цветение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налив-молочная спелость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восковая спелость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0432">
                <a:tc rowSpan="2">
                  <a:txBody>
                    <a:bodyPr/>
                    <a:lstStyle/>
                    <a:p>
                      <a:pPr algn="ctr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ru-RU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3559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кущение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ждоузлие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Межфазный</a:t>
                      </a:r>
                    </a:p>
                    <a:p>
                      <a:pPr algn="ctr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период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7 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дн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11-13 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дн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9-11 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дн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7-10 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дн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10-12 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дн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10-12 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дн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20-25 </a:t>
                      </a:r>
                      <a:r>
                        <a:rPr lang="ru-RU" sz="1100" b="0" dirty="0" err="1" smtClean="0">
                          <a:latin typeface="Arial" pitchFamily="34" charset="0"/>
                          <a:cs typeface="Arial" pitchFamily="34" charset="0"/>
                        </a:rPr>
                        <a:t>дн</a:t>
                      </a:r>
                      <a:r>
                        <a:rPr lang="ru-RU" sz="11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1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9683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26764" y="1159521"/>
            <a:ext cx="7063435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26764" y="1159521"/>
            <a:ext cx="7063435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426764" y="981952"/>
            <a:ext cx="7063435" cy="735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46201" y="973304"/>
            <a:ext cx="10165080" cy="876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СЧЕТ ОБЪЕМОВ ЗАЩИТНЫХ МЕРОПРИЯТИЙ</a:t>
            </a:r>
            <a:b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 ПРИМЕРЕ ООО УК АГРОИНВЕСТ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108938"/>
              </p:ext>
            </p:extLst>
          </p:nvPr>
        </p:nvGraphicFramePr>
        <p:xfrm>
          <a:off x="1220777" y="2081441"/>
          <a:ext cx="10503801" cy="2235200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39218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217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4752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126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евная площадь, га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тность обработок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условных обработок, га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lang="ru-RU" sz="16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севов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337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 102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0240"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мовые (кукуруза на з/к)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483</a:t>
                      </a:r>
                    </a:p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 143)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286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вые и зернобобовые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 524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 096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сличные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80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720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1994931" y="4458234"/>
            <a:ext cx="8867620" cy="441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опрыскивателей? Нагрузка на опрыскиватель?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39100" y="5032366"/>
            <a:ext cx="544861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О «</a:t>
            </a:r>
            <a:r>
              <a:rPr lang="ru-RU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атагрохимсервис</a:t>
            </a: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» </a:t>
            </a:r>
          </a:p>
          <a:p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420066, Россия, Республика Татарстан,</a:t>
            </a:r>
            <a:b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г. Казань, ул. </a:t>
            </a:r>
            <a:r>
              <a:rPr lang="ru-RU" sz="1400" dirty="0" err="1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Красносельская</a:t>
            </a:r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, 51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/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8 (843) 562-22-85 (тел.)</a:t>
            </a:r>
            <a:b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8 (843) 562-22-86 (ф.)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/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970000"/>
                </a:solidFill>
                <a:latin typeface="Arial" pitchFamily="34" charset="0"/>
                <a:cs typeface="Arial" pitchFamily="34" charset="0"/>
                <a:hlinkClick r:id="rId2"/>
              </a:rPr>
              <a:t>secretar@tatagrohimservis.ru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587712" y="5033988"/>
            <a:ext cx="56042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ОО «</a:t>
            </a:r>
            <a:r>
              <a:rPr lang="ru-RU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заньсельмаш</a:t>
            </a: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» </a:t>
            </a:r>
          </a:p>
          <a:p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422713, РТ, Высокогорский р-н, пос. </a:t>
            </a:r>
            <a:r>
              <a:rPr lang="ru-RU" sz="1400" dirty="0" err="1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Инеш</a:t>
            </a:r>
            <a:endParaRPr lang="ru-RU" sz="1400" dirty="0">
              <a:solidFill>
                <a:srgbClr val="333333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+7 (843) 210-17-33</a:t>
            </a:r>
            <a:b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+7 (843) 590-04-86</a:t>
            </a:r>
          </a:p>
          <a:p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  <a:hlinkClick r:id="rId3"/>
              </a:rPr>
              <a:t>ksm_info@mail.ru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/>
            </a:r>
            <a:br>
              <a:rPr lang="ru-RU" sz="1400" dirty="0"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  <a:hlinkClick r:id="rId4"/>
              </a:rPr>
              <a:t>tranzit-bp@mail.ru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04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849763" y="887945"/>
            <a:ext cx="116597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ЕСПЕЧЕННОСТЬ УЧАСТНИКОВ РАСТВОРНЫМИ УЗЛАМИ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716166"/>
              </p:ext>
            </p:extLst>
          </p:nvPr>
        </p:nvGraphicFramePr>
        <p:xfrm>
          <a:off x="998676" y="1498335"/>
          <a:ext cx="7683849" cy="53248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7852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68443">
                  <a:extLst>
                    <a:ext uri="{9D8B030D-6E8A-4147-A177-3AD203B41FA5}">
                      <a16:colId xmlns:a16="http://schemas.microsoft.com/office/drawing/2014/main" xmlns="" val="947890773"/>
                    </a:ext>
                  </a:extLst>
                </a:gridCol>
                <a:gridCol w="12457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91108">
                  <a:extLst>
                    <a:ext uri="{9D8B030D-6E8A-4147-A177-3AD203B41FA5}">
                      <a16:colId xmlns:a16="http://schemas.microsoft.com/office/drawing/2014/main" xmlns="" val="1641469949"/>
                    </a:ext>
                  </a:extLst>
                </a:gridCol>
              </a:tblGrid>
              <a:tr h="44342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spc="12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нвесторы</a:t>
                      </a:r>
                      <a:endParaRPr lang="ru-RU" sz="1400" b="0" kern="1200" spc="12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spc="12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ашня, </a:t>
                      </a:r>
                      <a:r>
                        <a:rPr lang="ru-RU" sz="1400" b="0" kern="1200" spc="120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ыс.га</a:t>
                      </a:r>
                      <a:endParaRPr lang="ru-RU" sz="1400" b="0" kern="1200" spc="12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spc="12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личие,</a:t>
                      </a:r>
                      <a:r>
                        <a:rPr lang="ru-RU" sz="1400" b="0" kern="1200" spc="12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ед.</a:t>
                      </a:r>
                      <a:endParaRPr lang="ru-RU" sz="1400" b="0" kern="1200" spc="12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spc="12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ходиться на 1 растворный узел</a:t>
                      </a:r>
                      <a:endParaRPr lang="ru-RU" sz="1400" b="0" kern="1200" spc="12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«Агросила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,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77397274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Красный Восток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,4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98252395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Агроинвест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6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9054457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Фирма «Август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,6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63784925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АПК Продпрограмма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8075042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«ХК «Ак Барс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,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2569143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АФ «Чистопольская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6761211"/>
                  </a:ext>
                </a:extLst>
              </a:tr>
              <a:tr h="31827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Сервис Агро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827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«РАЦИН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6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69555423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«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атагролизинг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Хузангаевское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Волга-Селект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9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Союз-Агро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7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Чистай-Агро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9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«Агро-Основа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827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ОО АФ «Родные края-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уган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Як»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6000">
                        <a:alpha val="1803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80467">
                <a:tc>
                  <a:txBody>
                    <a:bodyPr/>
                    <a:lstStyle/>
                    <a:p>
                      <a:pPr marL="108000" algn="l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его у участников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5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62,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5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spc="12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ru-RU" sz="1400" b="0" kern="1200" spc="12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5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spc="12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ru-RU" sz="1400" b="0" kern="1200" spc="12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pic>
        <p:nvPicPr>
          <p:cNvPr id="11" name="Picture 2" descr="C:\Users\Новичков\Desktop\бюджет\Растворный узел\фото\Арск\игенче\2f429df9-bd2c-40b3-a1e9-9b04fc53e867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321" b="4321"/>
          <a:stretch/>
        </p:blipFill>
        <p:spPr bwMode="auto">
          <a:xfrm>
            <a:off x="8842032" y="3363365"/>
            <a:ext cx="2874888" cy="1662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2032" y="1502701"/>
            <a:ext cx="2874888" cy="1662476"/>
          </a:xfrm>
          <a:prstGeom prst="rect">
            <a:avLst/>
          </a:prstGeom>
        </p:spPr>
      </p:pic>
      <p:pic>
        <p:nvPicPr>
          <p:cNvPr id="9218" name="Picture 2" descr="Самоходный опрыскиватель Казаньсельмаш - ОС-2500 4х4, ОС-3000, ОС-3000М,  ОС-4000М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42032" y="5224029"/>
            <a:ext cx="2874888" cy="1570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68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03969" y="935479"/>
            <a:ext cx="1110310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ОРИТЕТЫ НА 2021 ГОД ДЛЯ ПОВЫШЕНИЯ </a:t>
            </a:r>
          </a:p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ДАЧИ ПАШНИ И ЭФФЕКТИВНОСТИ ОТРАСЛИ ЗЕМЛЕДЕЛИЯ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19197" y="2231161"/>
            <a:ext cx="1090122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птимизация технологических операций (5 в одном) 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е формированием урожая (оснащение самоходными опрыскивателями)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ия эффективност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щит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роприятий (оснаститься растворными узлами)</a:t>
            </a:r>
          </a:p>
        </p:txBody>
      </p:sp>
      <p:pic>
        <p:nvPicPr>
          <p:cNvPr id="8194" name="Picture 2" descr="Сеялка Bourgault 3310 купить. Сеялка механическая продажа. Цеппелин Украина.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822645" y="3956703"/>
            <a:ext cx="3480232" cy="229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Овал 7"/>
          <p:cNvSpPr/>
          <p:nvPr/>
        </p:nvSpPr>
        <p:spPr>
          <a:xfrm>
            <a:off x="822644" y="3956703"/>
            <a:ext cx="393107" cy="3845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8196" name="Picture 4" descr="ОПРЫСКИВАТЕЛЬ САМОХОДНЫЙ БАРС-30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8876" y="3956703"/>
            <a:ext cx="3833858" cy="229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Овал 10"/>
          <p:cNvSpPr/>
          <p:nvPr/>
        </p:nvSpPr>
        <p:spPr>
          <a:xfrm>
            <a:off x="4358876" y="3956703"/>
            <a:ext cx="393107" cy="3845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13" name="Picture 3" descr="C:\Users\Новичков\Desktop\бюджет\Растворный узел\фото\Арск\игенче\7d6c111a-c761-4cd2-a04c-4410e7ef95be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120"/>
          <a:stretch/>
        </p:blipFill>
        <p:spPr bwMode="auto">
          <a:xfrm>
            <a:off x="8261225" y="3956703"/>
            <a:ext cx="3765675" cy="229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Овал 13"/>
          <p:cNvSpPr/>
          <p:nvPr/>
        </p:nvSpPr>
        <p:spPr>
          <a:xfrm>
            <a:off x="8261225" y="3948158"/>
            <a:ext cx="393107" cy="3845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631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1397050" y="1001476"/>
            <a:ext cx="9771807" cy="646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0" rIns="91439" bIns="0" rtlCol="0" anchor="ctr"/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ИНАНСОВЫЕ РЕЗУЛЬТАТЫ СЕЛЬХОЗФОРМИРОВАНИЙ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51"/>
          <p:cNvSpPr txBox="1"/>
          <p:nvPr/>
        </p:nvSpPr>
        <p:spPr>
          <a:xfrm>
            <a:off x="5084733" y="1976147"/>
            <a:ext cx="412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>
                <a:latin typeface="Arial" panose="020B0604020202020204" pitchFamily="34" charset="0"/>
                <a:cs typeface="Arial" pitchFamily="34" charset="0"/>
              </a:rPr>
              <a:t>Прибыль (млрд </a:t>
            </a:r>
            <a:r>
              <a:rPr lang="ru-RU" sz="1800" strike="sngStrike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), </a:t>
            </a: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latin typeface="Arial" pitchFamily="34" charset="0"/>
                <a:cs typeface="Arial" pitchFamily="34" charset="0"/>
              </a:rPr>
              <a:t>рентабельность 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(%)</a:t>
            </a:r>
            <a:endParaRPr lang="ru-RU" sz="1800" strike="sngStrik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52"/>
          <p:cNvSpPr txBox="1"/>
          <p:nvPr/>
        </p:nvSpPr>
        <p:spPr>
          <a:xfrm>
            <a:off x="1249685" y="6107286"/>
            <a:ext cx="6881101" cy="369332"/>
          </a:xfrm>
          <a:prstGeom prst="rect">
            <a:avLst/>
          </a:prstGeom>
          <a:solidFill>
            <a:srgbClr val="366000"/>
          </a:solidFill>
          <a:ln>
            <a:noFill/>
          </a:ln>
          <a:effectLst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800"/>
              </a:spcAft>
            </a:pPr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ентабельность отрасли растениеводства – </a:t>
            </a:r>
            <a:r>
              <a:rPr lang="ru-RU" sz="2400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16,0 </a:t>
            </a:r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55"/>
          <p:cNvSpPr txBox="1"/>
          <p:nvPr/>
        </p:nvSpPr>
        <p:spPr>
          <a:xfrm>
            <a:off x="5349200" y="3172398"/>
            <a:ext cx="801823" cy="625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467" dirty="0">
                <a:latin typeface="Arial" pitchFamily="34" charset="0"/>
                <a:cs typeface="Arial" pitchFamily="34" charset="0"/>
              </a:rPr>
              <a:t>8,8</a:t>
            </a:r>
          </a:p>
        </p:txBody>
      </p:sp>
      <p:sp>
        <p:nvSpPr>
          <p:cNvPr id="33" name="TextBox 56"/>
          <p:cNvSpPr txBox="1"/>
          <p:nvPr/>
        </p:nvSpPr>
        <p:spPr>
          <a:xfrm>
            <a:off x="7009377" y="2660611"/>
            <a:ext cx="801823" cy="625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467" dirty="0">
                <a:latin typeface="Arial" pitchFamily="34" charset="0"/>
                <a:cs typeface="Arial" pitchFamily="34" charset="0"/>
              </a:rPr>
              <a:t>9,9</a:t>
            </a:r>
          </a:p>
        </p:txBody>
      </p:sp>
      <p:sp>
        <p:nvSpPr>
          <p:cNvPr id="34" name="TextBox 59"/>
          <p:cNvSpPr txBox="1"/>
          <p:nvPr/>
        </p:nvSpPr>
        <p:spPr>
          <a:xfrm>
            <a:off x="5327371" y="5419105"/>
            <a:ext cx="955583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133" dirty="0">
                <a:latin typeface="Arial" pitchFamily="34" charset="0"/>
                <a:cs typeface="Arial" pitchFamily="34" charset="0"/>
              </a:rPr>
              <a:t>2018г.</a:t>
            </a:r>
          </a:p>
        </p:txBody>
      </p:sp>
      <p:sp>
        <p:nvSpPr>
          <p:cNvPr id="35" name="TextBox 60"/>
          <p:cNvSpPr txBox="1"/>
          <p:nvPr/>
        </p:nvSpPr>
        <p:spPr>
          <a:xfrm>
            <a:off x="7014331" y="5389316"/>
            <a:ext cx="955583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133" dirty="0">
                <a:latin typeface="Arial" pitchFamily="34" charset="0"/>
                <a:cs typeface="Arial" pitchFamily="34" charset="0"/>
              </a:rPr>
              <a:t>2019г.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312066" y="1971781"/>
            <a:ext cx="3080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>
                <a:latin typeface="Arial" panose="020B0604020202020204" pitchFamily="34" charset="0"/>
                <a:cs typeface="Arial" pitchFamily="34" charset="0"/>
              </a:rPr>
              <a:t>Денежная выручка, млрд </a:t>
            </a:r>
            <a:r>
              <a:rPr lang="ru-RU" sz="1800" strike="sngStrike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</a:p>
        </p:txBody>
      </p: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4283872397"/>
              </p:ext>
            </p:extLst>
          </p:nvPr>
        </p:nvGraphicFramePr>
        <p:xfrm>
          <a:off x="993258" y="2286329"/>
          <a:ext cx="3542971" cy="3296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3" name="TextBox 59"/>
          <p:cNvSpPr txBox="1"/>
          <p:nvPr/>
        </p:nvSpPr>
        <p:spPr>
          <a:xfrm>
            <a:off x="1523213" y="5463339"/>
            <a:ext cx="955583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133" dirty="0">
                <a:latin typeface="Arial" pitchFamily="34" charset="0"/>
                <a:cs typeface="Arial" pitchFamily="34" charset="0"/>
              </a:rPr>
              <a:t>2018г.</a:t>
            </a:r>
          </a:p>
        </p:txBody>
      </p:sp>
      <p:sp>
        <p:nvSpPr>
          <p:cNvPr id="54" name="TextBox 60"/>
          <p:cNvSpPr txBox="1"/>
          <p:nvPr/>
        </p:nvSpPr>
        <p:spPr>
          <a:xfrm>
            <a:off x="3156494" y="5471743"/>
            <a:ext cx="955583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133" dirty="0">
                <a:latin typeface="Arial" pitchFamily="34" charset="0"/>
                <a:cs typeface="Arial" pitchFamily="34" charset="0"/>
              </a:rPr>
              <a:t>2019г.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1275313" y="2694576"/>
            <a:ext cx="1295547" cy="625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467" dirty="0">
                <a:latin typeface="Arial" pitchFamily="34" charset="0"/>
                <a:cs typeface="Arial" pitchFamily="34" charset="0"/>
              </a:rPr>
              <a:t>103,2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2960048" y="2384902"/>
            <a:ext cx="1270989" cy="625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467" dirty="0">
                <a:latin typeface="Arial" pitchFamily="34" charset="0"/>
                <a:cs typeface="Arial" pitchFamily="34" charset="0"/>
              </a:rPr>
              <a:t>119,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93831" y="3572945"/>
            <a:ext cx="9813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49685" y="3322131"/>
            <a:ext cx="1391920" cy="1321276"/>
          </a:xfrm>
          <a:prstGeom prst="rect">
            <a:avLst/>
          </a:prstGeom>
          <a:solidFill>
            <a:srgbClr val="BCA0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/>
          <p:cNvSpPr/>
          <p:nvPr/>
        </p:nvSpPr>
        <p:spPr>
          <a:xfrm>
            <a:off x="5070479" y="3795314"/>
            <a:ext cx="1391915" cy="1632627"/>
          </a:xfrm>
          <a:prstGeom prst="rect">
            <a:avLst/>
          </a:prstGeom>
          <a:solidFill>
            <a:srgbClr val="BCA0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6719286" y="3225437"/>
            <a:ext cx="1397246" cy="2202504"/>
          </a:xfrm>
          <a:prstGeom prst="rect">
            <a:avLst/>
          </a:prstGeom>
          <a:solidFill>
            <a:srgbClr val="019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76"/>
          <p:cNvSpPr txBox="1"/>
          <p:nvPr/>
        </p:nvSpPr>
        <p:spPr>
          <a:xfrm>
            <a:off x="5164348" y="4326689"/>
            <a:ext cx="1204176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10,1%</a:t>
            </a:r>
          </a:p>
        </p:txBody>
      </p:sp>
      <p:sp>
        <p:nvSpPr>
          <p:cNvPr id="37" name="TextBox 77"/>
          <p:cNvSpPr txBox="1"/>
          <p:nvPr/>
        </p:nvSpPr>
        <p:spPr>
          <a:xfrm>
            <a:off x="6815821" y="4003895"/>
            <a:ext cx="1204176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10,5%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249685" y="1958669"/>
            <a:ext cx="3143096" cy="3894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tx1"/>
                </a:solidFill>
              </a:ln>
              <a:noFill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5084733" y="1929272"/>
            <a:ext cx="3046053" cy="69320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tx1"/>
                </a:solidFill>
              </a:ln>
              <a:noFill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3137" y="1926670"/>
            <a:ext cx="3828863" cy="454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919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767378" y="629769"/>
            <a:ext cx="9299330" cy="1092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ЕНЕЖНАЯ ВЫРУЧКА ПО ОТРАСЛЯМ, МЛРД Р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680529394"/>
              </p:ext>
            </p:extLst>
          </p:nvPr>
        </p:nvGraphicFramePr>
        <p:xfrm>
          <a:off x="660205" y="1849119"/>
          <a:ext cx="10315388" cy="4351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974771" y="5802121"/>
            <a:ext cx="2459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Денежная выручка, всего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44806" y="2864585"/>
            <a:ext cx="1091114" cy="3429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74,5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767377" y="2391582"/>
            <a:ext cx="1091114" cy="3429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89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440806" y="2168195"/>
            <a:ext cx="1091114" cy="3429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98,6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114235" y="2089506"/>
            <a:ext cx="1091114" cy="3429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00,3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761803" y="1996745"/>
            <a:ext cx="1091114" cy="3429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03,1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409054" y="1613057"/>
            <a:ext cx="1091114" cy="3429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19,3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1039475" y="3724275"/>
            <a:ext cx="914400" cy="1638300"/>
          </a:xfrm>
          <a:prstGeom prst="rect">
            <a:avLst/>
          </a:prstGeom>
          <a:solidFill>
            <a:srgbClr val="BCA0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10951118" y="4371975"/>
            <a:ext cx="1091114" cy="342900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50</a:t>
            </a:r>
            <a:endParaRPr lang="ru-RU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0975593" y="5343525"/>
            <a:ext cx="1091114" cy="3429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ЦЕЛЬ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068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800350" y="814890"/>
            <a:ext cx="7039514" cy="8618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0" rIns="91439" bIns="0" rtlCol="0" anchor="ctr"/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ИБЕЛЬ ОЗИМЫХ КУЛЬТУР 2019 ГОДА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152650" y="1717475"/>
            <a:ext cx="1724025" cy="130442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сеяно озимых - </a:t>
            </a:r>
          </a:p>
          <a:p>
            <a:pPr algn="ctr">
              <a:lnSpc>
                <a:spcPts val="3200"/>
              </a:lnSpc>
            </a:pPr>
            <a:r>
              <a:rPr lang="ru-RU" sz="20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577,6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ыс.г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411148" y="1717475"/>
            <a:ext cx="2413319" cy="13044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гибло - </a:t>
            </a:r>
          </a:p>
          <a:p>
            <a:pPr algn="ctr">
              <a:lnSpc>
                <a:spcPts val="3200"/>
              </a:lnSpc>
            </a:pPr>
            <a:r>
              <a:rPr lang="ru-RU" sz="20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18,5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ыс.га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щерб - </a:t>
            </a:r>
            <a:r>
              <a:rPr lang="ru-RU" sz="20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,4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млрд </a:t>
            </a:r>
            <a:r>
              <a:rPr lang="ru-RU" strike="sngStrike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358940" y="1713691"/>
            <a:ext cx="3432885" cy="130820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страховано - </a:t>
            </a:r>
            <a:r>
              <a:rPr lang="ru-RU" sz="20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59,7</a:t>
            </a:r>
            <a:r>
              <a:rPr lang="ru-RU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ыс.га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ts val="3200"/>
              </a:lnSpc>
            </a:pP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озмещено Минсельхозом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Ф </a:t>
            </a:r>
            <a:b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20,1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млн </a:t>
            </a:r>
            <a:r>
              <a:rPr lang="ru-RU" strike="sngStrike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3970376" y="2159806"/>
            <a:ext cx="347071" cy="415976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6" name="Стрелка вправо 15"/>
          <p:cNvSpPr/>
          <p:nvPr/>
        </p:nvSpPr>
        <p:spPr>
          <a:xfrm flipH="1">
            <a:off x="6918168" y="2159806"/>
            <a:ext cx="347071" cy="415976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5123" name="Picture 3" descr="C:\Users\user\Desktop\Договор урожай_Страница_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4698" y="3373773"/>
            <a:ext cx="2236134" cy="327491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191125" y="4242536"/>
            <a:ext cx="5600700" cy="138499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грострахование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– инструмент сохранения финансовой устойчивости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8017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515676" y="1017577"/>
            <a:ext cx="99417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ИБЕЛЬ ОЗИМЫХ ПО ХОЗЯЙСТВАМ ИНВЕСТОРОВ ЗА 2019 ГОД.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369498"/>
              </p:ext>
            </p:extLst>
          </p:nvPr>
        </p:nvGraphicFramePr>
        <p:xfrm>
          <a:off x="1531061" y="1680435"/>
          <a:ext cx="9581497" cy="4942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55693">
                  <a:extLst>
                    <a:ext uri="{9D8B030D-6E8A-4147-A177-3AD203B41FA5}">
                      <a16:colId xmlns:a16="http://schemas.microsoft.com/office/drawing/2014/main" xmlns="" val="4087781322"/>
                    </a:ext>
                  </a:extLst>
                </a:gridCol>
                <a:gridCol w="1602708">
                  <a:extLst>
                    <a:ext uri="{9D8B030D-6E8A-4147-A177-3AD203B41FA5}">
                      <a16:colId xmlns:a16="http://schemas.microsoft.com/office/drawing/2014/main" xmlns="" val="1060581572"/>
                    </a:ext>
                  </a:extLst>
                </a:gridCol>
                <a:gridCol w="1342106">
                  <a:extLst>
                    <a:ext uri="{9D8B030D-6E8A-4147-A177-3AD203B41FA5}">
                      <a16:colId xmlns:a16="http://schemas.microsoft.com/office/drawing/2014/main" xmlns="" val="2331380432"/>
                    </a:ext>
                  </a:extLst>
                </a:gridCol>
                <a:gridCol w="1580990">
                  <a:extLst>
                    <a:ext uri="{9D8B030D-6E8A-4147-A177-3AD203B41FA5}">
                      <a16:colId xmlns:a16="http://schemas.microsoft.com/office/drawing/2014/main" xmlns="" val="3089308344"/>
                    </a:ext>
                  </a:extLst>
                </a:gridCol>
              </a:tblGrid>
              <a:tr h="60854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6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оры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4" marR="8644" marT="86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ибель, га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4" marR="8644" marT="86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, гибели от озимых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4" marR="8644" marT="86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ущерба, млн </a:t>
                      </a:r>
                      <a:r>
                        <a:rPr lang="ru-RU" sz="160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б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4" marR="8644" marT="8644" marB="0" anchor="b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45632889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ОО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гро-Основа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7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3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9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1424517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О «РАЦИН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0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8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1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92933177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О «ХК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к Барс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 72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,9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4,4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2560277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О «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тагролизинг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52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,8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,2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5969965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ОО «Сервис Агро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16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,5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3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8593329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ОО «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инвест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6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,7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,3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13131841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О Фирма «Август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17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,4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61150965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ОО «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узангаевское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8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1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,9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34803838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Ф «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опольская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2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90033660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ОО «АПК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программа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9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4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1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345998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ОО «Союз-Агро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5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2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,5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14901388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Красный Восток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47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,7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2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4944010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ОО «АФ «Родные края-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г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Як»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6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9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6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47452435"/>
                  </a:ext>
                </a:extLst>
              </a:tr>
              <a:tr h="309571">
                <a:tc>
                  <a:txBody>
                    <a:bodyPr/>
                    <a:lstStyle/>
                    <a:p>
                      <a:pPr marL="108000"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О «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сила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3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,7</a:t>
                      </a:r>
                    </a:p>
                  </a:txBody>
                  <a:tcPr marL="9525" marR="9525" marT="9525" marB="0" anchor="b">
                    <a:solidFill>
                      <a:srgbClr val="DFA8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35323580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972550" y="6346825"/>
            <a:ext cx="2743200" cy="365125"/>
          </a:xfrm>
        </p:spPr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2716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628276" y="1149414"/>
            <a:ext cx="113224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КУЩЕЕ СОСТОЯНИЕ ОЗИМОГО КЛИНА 2020 ГОДА. </a:t>
            </a:r>
            <a:endParaRPr lang="ru-RU" sz="24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58649" y="2446029"/>
            <a:ext cx="4246511" cy="318488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1353" y="1915215"/>
            <a:ext cx="5662015" cy="4246511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 rot="20747947">
            <a:off x="1660124" y="3524434"/>
            <a:ext cx="941033" cy="119848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 rot="1545052">
            <a:off x="2498505" y="3056850"/>
            <a:ext cx="1323804" cy="1669497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 rot="20379824">
            <a:off x="1633837" y="3073374"/>
            <a:ext cx="4667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 smtClean="0">
                <a:solidFill>
                  <a:srgbClr val="FF0000"/>
                </a:solidFill>
              </a:rPr>
              <a:t>Х</a:t>
            </a:r>
            <a:endParaRPr lang="ru-RU" sz="4000" b="1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 rot="1536228">
            <a:off x="3403254" y="2779361"/>
            <a:ext cx="87716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ru-RU" sz="4000" b="1" dirty="0" smtClean="0">
                <a:solidFill>
                  <a:srgbClr val="00B050"/>
                </a:solidFill>
              </a:rPr>
              <a:t> </a:t>
            </a:r>
            <a:endParaRPr lang="ru-RU" sz="4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6046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610</TotalTime>
  <Words>2826</Words>
  <Application>Microsoft Office PowerPoint</Application>
  <PresentationFormat>Произвольный</PresentationFormat>
  <Paragraphs>1064</Paragraphs>
  <Slides>45</Slides>
  <Notes>0</Notes>
  <HiddenSlides>0</HiddenSlides>
  <MMClips>1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5</vt:i4>
      </vt:variant>
    </vt:vector>
  </HeadingPairs>
  <TitlesOfParts>
    <vt:vector size="49" baseType="lpstr">
      <vt:lpstr>16_Firm Format - Russian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ЛИЧЕСТВО ОСНОВНЫХ ЭЛЕМЕНТОВ ПИТАНИЯ  ОСТАВЛЯЕМЫХ В КОРНЕВЫХ И ПОЖНИВНЫХ ОСТАТКА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РОЖАЙНОСТЬ В ЗАВИСИМОСТИ ОТ ПРЕДШЕСТВЕННИКА</vt:lpstr>
      <vt:lpstr>РЕКОМЕНДУЕМЫЕ ПРЕДШЕСТВЕННИКИ ОСНОВНЫХ КУЛЬТУР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User</cp:lastModifiedBy>
  <cp:revision>7004</cp:revision>
  <cp:lastPrinted>2020-07-17T16:34:47Z</cp:lastPrinted>
  <dcterms:created xsi:type="dcterms:W3CDTF">2017-01-20T06:03:46Z</dcterms:created>
  <dcterms:modified xsi:type="dcterms:W3CDTF">2020-07-21T12:52:40Z</dcterms:modified>
</cp:coreProperties>
</file>